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8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9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0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</p:sldMasterIdLst>
  <p:notesMasterIdLst>
    <p:notesMasterId r:id="rId19"/>
  </p:notesMasterIdLst>
  <p:sldIdLst>
    <p:sldId id="300" r:id="rId2"/>
    <p:sldId id="282" r:id="rId3"/>
    <p:sldId id="285" r:id="rId4"/>
    <p:sldId id="286" r:id="rId5"/>
    <p:sldId id="287" r:id="rId6"/>
    <p:sldId id="288" r:id="rId7"/>
    <p:sldId id="289" r:id="rId8"/>
    <p:sldId id="290" r:id="rId9"/>
    <p:sldId id="301" r:id="rId10"/>
    <p:sldId id="292" r:id="rId11"/>
    <p:sldId id="293" r:id="rId12"/>
    <p:sldId id="294" r:id="rId13"/>
    <p:sldId id="295" r:id="rId14"/>
    <p:sldId id="296" r:id="rId15"/>
    <p:sldId id="297" r:id="rId16"/>
    <p:sldId id="298" r:id="rId17"/>
    <p:sldId id="299" r:id="rId18"/>
  </p:sldIdLst>
  <p:sldSz cx="12192000" cy="6858000"/>
  <p:notesSz cx="6858000" cy="9144000"/>
  <p:embeddedFontLst>
    <p:embeddedFont>
      <p:font typeface="Calibri" panose="020F0502020204030204" pitchFamily="34" charset="0"/>
      <p:regular r:id="rId20"/>
      <p:bold r:id="rId21"/>
      <p:italic r:id="rId22"/>
      <p:boldItalic r:id="rId23"/>
    </p:embeddedFont>
    <p:embeddedFont>
      <p:font typeface="Lato" panose="020B0604020202020204" charset="0"/>
      <p:regular r:id="rId24"/>
      <p:bold r:id="rId25"/>
      <p:italic r:id="rId26"/>
      <p:boldItalic r:id="rId27"/>
    </p:embeddedFont>
    <p:embeddedFont>
      <p:font typeface="Libre Franklin" panose="020B0604020202020204" charset="0"/>
      <p:regular r:id="rId28"/>
      <p:bold r:id="rId29"/>
      <p:italic r:id="rId30"/>
      <p:boldItalic r:id="rId31"/>
    </p:embeddedFont>
    <p:embeddedFont>
      <p:font typeface="Libre Franklin Thin" panose="020B0604020202020204" charset="0"/>
      <p:regular r:id="rId32"/>
      <p:bold r:id="rId33"/>
      <p:italic r:id="rId34"/>
      <p:boldItalic r:id="rId35"/>
    </p:embeddedFont>
    <p:embeddedFont>
      <p:font typeface="Verdana" panose="020B0604030504040204" pitchFamily="34" charset="0"/>
      <p:regular r:id="rId36"/>
      <p:bold r:id="rId37"/>
      <p:italic r:id="rId38"/>
      <p:boldItalic r:id="rId39"/>
    </p:embeddedFont>
  </p:embeddedFontLst>
  <p:custDataLst>
    <p:tags r:id="rId40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pos="688" userDrawn="1">
          <p15:clr>
            <a:srgbClr val="A4A3A4"/>
          </p15:clr>
        </p15:guide>
        <p15:guide id="2" orient="horz" pos="1152" userDrawn="1">
          <p15:clr>
            <a:srgbClr val="A4A3A4"/>
          </p15:clr>
        </p15:guide>
        <p15:guide id="3" pos="7030" userDrawn="1">
          <p15:clr>
            <a:srgbClr val="A4A3A4"/>
          </p15:clr>
        </p15:guide>
        <p15:guide id="4" orient="horz" pos="3708" userDrawn="1">
          <p15:clr>
            <a:srgbClr val="A4A3A4"/>
          </p15:clr>
        </p15:guide>
      </p15:sld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43" roundtripDataSignature="AMtx7mjN9l3+4/A7IhK/W+ChT3pGFspSyg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3F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6"/>
    <p:restoredTop sz="94366" autoAdjust="0"/>
  </p:normalViewPr>
  <p:slideViewPr>
    <p:cSldViewPr snapToGrid="0" snapToObjects="1">
      <p:cViewPr varScale="1">
        <p:scale>
          <a:sx n="81" d="100"/>
          <a:sy n="81" d="100"/>
        </p:scale>
        <p:origin x="725" y="53"/>
      </p:cViewPr>
      <p:guideLst>
        <p:guide pos="688"/>
        <p:guide orient="horz" pos="1152"/>
        <p:guide pos="7030"/>
        <p:guide orient="horz" pos="370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7.fntdata"/><Relationship Id="rId39" Type="http://schemas.openxmlformats.org/officeDocument/2006/relationships/font" Target="fonts/font20.fntdata"/><Relationship Id="rId21" Type="http://schemas.openxmlformats.org/officeDocument/2006/relationships/font" Target="fonts/font2.fntdata"/><Relationship Id="rId34" Type="http://schemas.openxmlformats.org/officeDocument/2006/relationships/font" Target="fonts/font15.fntdata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font" Target="fonts/font10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5.fntdata"/><Relationship Id="rId32" Type="http://schemas.openxmlformats.org/officeDocument/2006/relationships/font" Target="fonts/font13.fntdata"/><Relationship Id="rId37" Type="http://schemas.openxmlformats.org/officeDocument/2006/relationships/font" Target="fonts/font18.fntdata"/><Relationship Id="rId40" Type="http://schemas.openxmlformats.org/officeDocument/2006/relationships/tags" Target="tags/tag1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font" Target="fonts/font17.fntdata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2.fntdata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font" Target="fonts/font16.fntdata"/><Relationship Id="rId43" Type="http://customschemas.google.com/relationships/presentationmetadata" Target="metadata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6.fntdata"/><Relationship Id="rId33" Type="http://schemas.openxmlformats.org/officeDocument/2006/relationships/font" Target="fonts/font14.fntdata"/><Relationship Id="rId38" Type="http://schemas.openxmlformats.org/officeDocument/2006/relationships/font" Target="fonts/font19.fntdata"/><Relationship Id="rId46" Type="http://schemas.openxmlformats.org/officeDocument/2006/relationships/theme" Target="theme/theme1.xml"/><Relationship Id="rId20" Type="http://schemas.openxmlformats.org/officeDocument/2006/relationships/font" Target="fonts/font1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8267716823200685"/>
          <c:y val="4.850758474124057E-3"/>
          <c:w val="0.48638013950200132"/>
          <c:h val="0.9538416348453694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3F3F3F"/>
                    </a:solidFill>
                    <a:latin typeface="Libre Franklin" panose="020B060402020202020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Less than a high school diploma</c:v>
                </c:pt>
                <c:pt idx="1">
                  <c:v>High school diploma</c:v>
                </c:pt>
                <c:pt idx="2">
                  <c:v>Some college, no degree</c:v>
                </c:pt>
                <c:pt idx="3">
                  <c:v>Associate's degree</c:v>
                </c:pt>
                <c:pt idx="4">
                  <c:v>Bachelor's degree</c:v>
                </c:pt>
                <c:pt idx="5">
                  <c:v>Master's degree</c:v>
                </c:pt>
                <c:pt idx="6">
                  <c:v>Professional degree</c:v>
                </c:pt>
                <c:pt idx="7">
                  <c:v>Doctoral degree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5.4</c:v>
                </c:pt>
                <c:pt idx="1">
                  <c:v>3.7</c:v>
                </c:pt>
                <c:pt idx="2">
                  <c:v>3.3</c:v>
                </c:pt>
                <c:pt idx="3">
                  <c:v>2.7</c:v>
                </c:pt>
                <c:pt idx="4">
                  <c:v>2.2000000000000002</c:v>
                </c:pt>
                <c:pt idx="5">
                  <c:v>2</c:v>
                </c:pt>
                <c:pt idx="6">
                  <c:v>1.6</c:v>
                </c:pt>
                <c:pt idx="7">
                  <c:v>1.1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F0-42E6-AA76-6EB7762D100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584970376"/>
        <c:axId val="584973984"/>
      </c:barChart>
      <c:catAx>
        <c:axId val="58497037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3F3F3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3F3F3F"/>
                </a:solidFill>
                <a:latin typeface="Libre Franklin" panose="020B0604020202020204" charset="0"/>
                <a:ea typeface="+mn-ea"/>
                <a:cs typeface="+mn-cs"/>
              </a:defRPr>
            </a:pPr>
            <a:endParaRPr lang="en-US"/>
          </a:p>
        </c:txPr>
        <c:crossAx val="584973984"/>
        <c:crosses val="autoZero"/>
        <c:auto val="1"/>
        <c:lblAlgn val="ctr"/>
        <c:lblOffset val="100"/>
        <c:noMultiLvlLbl val="0"/>
      </c:catAx>
      <c:valAx>
        <c:axId val="58497398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849703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rgbClr val="3F3F3F"/>
          </a:solidFill>
          <a:latin typeface="Libre Franklin" panose="020B060402020202020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900918819288595E-2"/>
          <c:y val="4.850758474124057E-3"/>
          <c:w val="0.79838561985075229"/>
          <c:h val="0.9538416348453694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3F3F3F"/>
                    </a:solidFill>
                    <a:latin typeface="Libre Franklin" panose="020B060402020202020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Less than a high school diploma</c:v>
                </c:pt>
                <c:pt idx="1">
                  <c:v>High school diploma</c:v>
                </c:pt>
                <c:pt idx="2">
                  <c:v>Some college, no degree</c:v>
                </c:pt>
                <c:pt idx="3">
                  <c:v>Associate's degree</c:v>
                </c:pt>
                <c:pt idx="4">
                  <c:v>Bachelor's degree</c:v>
                </c:pt>
                <c:pt idx="5">
                  <c:v>Master's degree</c:v>
                </c:pt>
                <c:pt idx="6">
                  <c:v>Professional degree</c:v>
                </c:pt>
                <c:pt idx="7">
                  <c:v>Doctoral degree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592</c:v>
                </c:pt>
                <c:pt idx="1">
                  <c:v>746</c:v>
                </c:pt>
                <c:pt idx="2">
                  <c:v>833</c:v>
                </c:pt>
                <c:pt idx="3">
                  <c:v>887</c:v>
                </c:pt>
                <c:pt idx="4">
                  <c:v>1248</c:v>
                </c:pt>
                <c:pt idx="5">
                  <c:v>1497</c:v>
                </c:pt>
                <c:pt idx="6">
                  <c:v>1861</c:v>
                </c:pt>
                <c:pt idx="7">
                  <c:v>18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F0-42E6-AA76-6EB7762D100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axId val="584970376"/>
        <c:axId val="584973984"/>
      </c:barChart>
      <c:catAx>
        <c:axId val="58497037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584973984"/>
        <c:crosses val="autoZero"/>
        <c:auto val="1"/>
        <c:lblAlgn val="ctr"/>
        <c:lblOffset val="100"/>
        <c:noMultiLvlLbl val="0"/>
      </c:catAx>
      <c:valAx>
        <c:axId val="58497398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849703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rgbClr val="3F3F3F"/>
          </a:solidFill>
          <a:latin typeface="Libre Franklin" panose="020B060402020202020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627893104271053E-2"/>
          <c:y val="7.7952575853773562E-2"/>
          <c:w val="0.888641533444683"/>
          <c:h val="0.8344310741119889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3F3F3F"/>
                    </a:solidFill>
                    <a:latin typeface="Libre Franklin" panose="020B060402020202020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1995</c:v>
                </c:pt>
                <c:pt idx="1">
                  <c:v>2000</c:v>
                </c:pt>
                <c:pt idx="2">
                  <c:v>2005</c:v>
                </c:pt>
                <c:pt idx="3">
                  <c:v>2010</c:v>
                </c:pt>
                <c:pt idx="4">
                  <c:v>2015</c:v>
                </c:pt>
                <c:pt idx="5">
                  <c:v>2020</c:v>
                </c:pt>
              </c:numCache>
            </c:numRef>
          </c:cat>
          <c:val>
            <c:numRef>
              <c:f>Sheet1!$B$2:$B$7</c:f>
              <c:numCache>
                <c:formatCode>General</c:formatCode>
                <c:ptCount val="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548-40FA-AB78-98BF7684B87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3F3F3F"/>
                    </a:solidFill>
                    <a:latin typeface="Libre Franklin" panose="020B060402020202020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7</c:f>
              <c:numCache>
                <c:formatCode>General</c:formatCode>
                <c:ptCount val="6"/>
                <c:pt idx="0">
                  <c:v>1995</c:v>
                </c:pt>
                <c:pt idx="1">
                  <c:v>2000</c:v>
                </c:pt>
                <c:pt idx="2">
                  <c:v>2005</c:v>
                </c:pt>
                <c:pt idx="3">
                  <c:v>2010</c:v>
                </c:pt>
                <c:pt idx="4">
                  <c:v>2015</c:v>
                </c:pt>
                <c:pt idx="5">
                  <c:v>2020</c:v>
                </c:pt>
              </c:numCache>
            </c:numRef>
          </c:cat>
          <c:val>
            <c:numRef>
              <c:f>Sheet1!$C$2:$C$7</c:f>
              <c:numCache>
                <c:formatCode>General</c:formatCode>
                <c:ptCount val="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C548-40FA-AB78-98BF7684B87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584970376"/>
        <c:axId val="584973984"/>
      </c:lineChart>
      <c:catAx>
        <c:axId val="5849703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3F3F3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3F3F3F"/>
                </a:solidFill>
                <a:latin typeface="Libre Franklin" panose="020B0604020202020204" charset="0"/>
                <a:ea typeface="+mn-ea"/>
                <a:cs typeface="+mn-cs"/>
              </a:defRPr>
            </a:pPr>
            <a:endParaRPr lang="en-US"/>
          </a:p>
        </c:txPr>
        <c:crossAx val="584973984"/>
        <c:crosses val="autoZero"/>
        <c:auto val="1"/>
        <c:lblAlgn val="ctr"/>
        <c:lblOffset val="100"/>
        <c:noMultiLvlLbl val="0"/>
      </c:catAx>
      <c:valAx>
        <c:axId val="584973984"/>
        <c:scaling>
          <c:orientation val="minMax"/>
          <c:max val="17.5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3F3F3F"/>
                    </a:solidFill>
                    <a:latin typeface="Libre Franklin" panose="020B0604020202020204" charset="0"/>
                    <a:ea typeface="+mn-ea"/>
                    <a:cs typeface="+mn-cs"/>
                  </a:defRPr>
                </a:pPr>
                <a:r>
                  <a:rPr lang="en-IN" b="1" dirty="0"/>
                  <a:t>Percent</a:t>
                </a:r>
              </a:p>
            </c:rich>
          </c:tx>
          <c:layout>
            <c:manualLayout>
              <c:xMode val="edge"/>
              <c:yMode val="edge"/>
              <c:x val="4.9632148254195492E-3"/>
              <c:y val="0.3619956346186956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rgbClr val="3F3F3F"/>
                  </a:solidFill>
                  <a:latin typeface="Libre Franklin" panose="020B060402020202020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" sourceLinked="0"/>
        <c:majorTickMark val="out"/>
        <c:minorTickMark val="none"/>
        <c:tickLblPos val="nextTo"/>
        <c:spPr>
          <a:noFill/>
          <a:ln>
            <a:solidFill>
              <a:srgbClr val="3F3F3F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3F3F3F"/>
                </a:solidFill>
                <a:latin typeface="Libre Franklin" panose="020B0604020202020204" charset="0"/>
                <a:ea typeface="+mn-ea"/>
                <a:cs typeface="+mn-cs"/>
              </a:defRPr>
            </a:pPr>
            <a:endParaRPr lang="en-US"/>
          </a:p>
        </c:txPr>
        <c:crossAx val="584970376"/>
        <c:crosses val="autoZero"/>
        <c:crossBetween val="between"/>
        <c:majorUnit val="2.5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rgbClr val="3F3F3F"/>
          </a:solidFill>
          <a:latin typeface="Libre Franklin" panose="020B060402020202020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627893104271053E-2"/>
          <c:y val="7.7952575853773562E-2"/>
          <c:w val="0.888641533444683"/>
          <c:h val="0.8344310741119889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3F3F3F"/>
                    </a:solidFill>
                    <a:latin typeface="Libre Franklin" panose="020B060402020202020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numCache>
            </c:numRef>
          </c:cat>
          <c:val>
            <c:numRef>
              <c:f>Sheet1!$B$2:$B$12</c:f>
              <c:numCache>
                <c:formatCode>General</c:formatCode>
                <c:ptCount val="1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BA-46EA-B1B2-947ADC0C183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3F3F3F"/>
                    </a:solidFill>
                    <a:latin typeface="Libre Franklin" panose="020B060402020202020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numCache>
            </c:numRef>
          </c:cat>
          <c:val>
            <c:numRef>
              <c:f>Sheet1!$C$2:$C$12</c:f>
              <c:numCache>
                <c:formatCode>General</c:formatCode>
                <c:ptCount val="1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BA-46EA-B1B2-947ADC0C183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584970376"/>
        <c:axId val="584973984"/>
      </c:lineChart>
      <c:catAx>
        <c:axId val="5849703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3F3F3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3F3F3F"/>
                </a:solidFill>
                <a:latin typeface="Libre Franklin" panose="020B0604020202020204" charset="0"/>
                <a:ea typeface="+mn-ea"/>
                <a:cs typeface="+mn-cs"/>
              </a:defRPr>
            </a:pPr>
            <a:endParaRPr lang="en-US"/>
          </a:p>
        </c:txPr>
        <c:crossAx val="584973984"/>
        <c:crosses val="autoZero"/>
        <c:auto val="1"/>
        <c:lblAlgn val="ctr"/>
        <c:lblOffset val="100"/>
        <c:noMultiLvlLbl val="0"/>
      </c:catAx>
      <c:valAx>
        <c:axId val="584973984"/>
        <c:scaling>
          <c:orientation val="minMax"/>
          <c:max val="80"/>
          <c:min val="2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3F3F3F"/>
                    </a:solidFill>
                    <a:latin typeface="Libre Franklin" panose="020B0604020202020204" charset="0"/>
                    <a:ea typeface="+mn-ea"/>
                    <a:cs typeface="+mn-cs"/>
                  </a:defRPr>
                </a:pPr>
                <a:r>
                  <a:rPr lang="en-IN" b="1" dirty="0"/>
                  <a:t>Percent</a:t>
                </a:r>
              </a:p>
            </c:rich>
          </c:tx>
          <c:layout>
            <c:manualLayout>
              <c:xMode val="edge"/>
              <c:yMode val="edge"/>
              <c:x val="4.9632148254195492E-3"/>
              <c:y val="0.3619956346186956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rgbClr val="3F3F3F"/>
                  </a:solidFill>
                  <a:latin typeface="Libre Franklin" panose="020B060402020202020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" sourceLinked="0"/>
        <c:majorTickMark val="out"/>
        <c:minorTickMark val="none"/>
        <c:tickLblPos val="nextTo"/>
        <c:spPr>
          <a:noFill/>
          <a:ln>
            <a:solidFill>
              <a:srgbClr val="3F3F3F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3F3F3F"/>
                </a:solidFill>
                <a:latin typeface="Libre Franklin" panose="020B0604020202020204" charset="0"/>
                <a:ea typeface="+mn-ea"/>
                <a:cs typeface="+mn-cs"/>
              </a:defRPr>
            </a:pPr>
            <a:endParaRPr lang="en-US"/>
          </a:p>
        </c:txPr>
        <c:crossAx val="584970376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rgbClr val="3F3F3F"/>
          </a:solidFill>
          <a:latin typeface="Libre Franklin" panose="020B060402020202020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6627893104271053E-2"/>
          <c:y val="7.7952575853773562E-2"/>
          <c:w val="0.888641533444683"/>
          <c:h val="0.8344310741119889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3F3F3F"/>
                    </a:solidFill>
                    <a:latin typeface="Libre Franklin" panose="020B060402020202020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numCache>
            </c:numRef>
          </c:cat>
          <c:val>
            <c:numRef>
              <c:f>Sheet1!$B$2:$B$12</c:f>
              <c:numCache>
                <c:formatCode>General</c:formatCode>
                <c:ptCount val="1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BA-46EA-B1B2-947ADC0C183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2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3F3F3F"/>
                    </a:solidFill>
                    <a:latin typeface="Libre Franklin" panose="020B060402020202020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  <c:pt idx="3">
                  <c:v>2014</c:v>
                </c:pt>
                <c:pt idx="4">
                  <c:v>2015</c:v>
                </c:pt>
                <c:pt idx="5">
                  <c:v>2016</c:v>
                </c:pt>
                <c:pt idx="6">
                  <c:v>2017</c:v>
                </c:pt>
                <c:pt idx="7">
                  <c:v>2018</c:v>
                </c:pt>
                <c:pt idx="8">
                  <c:v>2019</c:v>
                </c:pt>
                <c:pt idx="9">
                  <c:v>2020</c:v>
                </c:pt>
                <c:pt idx="10">
                  <c:v>2021</c:v>
                </c:pt>
              </c:numCache>
            </c:numRef>
          </c:cat>
          <c:val>
            <c:numRef>
              <c:f>Sheet1!$C$2:$C$12</c:f>
              <c:numCache>
                <c:formatCode>General</c:formatCode>
                <c:ptCount val="1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BA-46EA-B1B2-947ADC0C183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584970376"/>
        <c:axId val="584973984"/>
      </c:lineChart>
      <c:catAx>
        <c:axId val="5849703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3F3F3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3F3F3F"/>
                </a:solidFill>
                <a:latin typeface="Libre Franklin" panose="020B0604020202020204" charset="0"/>
                <a:ea typeface="+mn-ea"/>
                <a:cs typeface="+mn-cs"/>
              </a:defRPr>
            </a:pPr>
            <a:endParaRPr lang="en-US"/>
          </a:p>
        </c:txPr>
        <c:crossAx val="584973984"/>
        <c:crosses val="autoZero"/>
        <c:auto val="1"/>
        <c:lblAlgn val="ctr"/>
        <c:lblOffset val="100"/>
        <c:noMultiLvlLbl val="0"/>
      </c:catAx>
      <c:valAx>
        <c:axId val="584973984"/>
        <c:scaling>
          <c:orientation val="minMax"/>
          <c:max val="80"/>
          <c:min val="2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rgbClr val="3F3F3F"/>
                    </a:solidFill>
                    <a:latin typeface="Libre Franklin" panose="020B0604020202020204" charset="0"/>
                    <a:ea typeface="+mn-ea"/>
                    <a:cs typeface="+mn-cs"/>
                  </a:defRPr>
                </a:pPr>
                <a:r>
                  <a:rPr lang="en-IN" b="1" dirty="0"/>
                  <a:t>Percent</a:t>
                </a:r>
              </a:p>
            </c:rich>
          </c:tx>
          <c:layout>
            <c:manualLayout>
              <c:xMode val="edge"/>
              <c:yMode val="edge"/>
              <c:x val="4.9632148254195492E-3"/>
              <c:y val="0.3619956346186956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rgbClr val="3F3F3F"/>
                  </a:solidFill>
                  <a:latin typeface="Libre Franklin" panose="020B0604020202020204" charset="0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" sourceLinked="0"/>
        <c:majorTickMark val="out"/>
        <c:minorTickMark val="none"/>
        <c:tickLblPos val="nextTo"/>
        <c:spPr>
          <a:noFill/>
          <a:ln>
            <a:solidFill>
              <a:srgbClr val="3F3F3F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3F3F3F"/>
                </a:solidFill>
                <a:latin typeface="Libre Franklin" panose="020B0604020202020204" charset="0"/>
                <a:ea typeface="+mn-ea"/>
                <a:cs typeface="+mn-cs"/>
              </a:defRPr>
            </a:pPr>
            <a:endParaRPr lang="en-US"/>
          </a:p>
        </c:txPr>
        <c:crossAx val="584970376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rgbClr val="3F3F3F"/>
          </a:solidFill>
          <a:latin typeface="Libre Franklin" panose="020B060402020202020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b="1" dirty="0"/>
              <a:t>Building Blocks</a:t>
            </a:r>
            <a:r>
              <a:rPr lang="en-IN" dirty="0"/>
              <a:t> - Executive Function, Financial habits &amp; norms, Financial knowledge &amp; decision-making skill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b="1" dirty="0"/>
              <a:t>School Subject - </a:t>
            </a:r>
            <a:r>
              <a:rPr lang="en-IN" dirty="0"/>
              <a:t>CTE, English Language Arts, JROTC/ROTC (service members), Math, Science, Social studies, Fine Arts, PE/Health, World Language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b="1" dirty="0"/>
              <a:t>Topic -</a:t>
            </a:r>
            <a:r>
              <a:rPr lang="en-IN" dirty="0"/>
              <a:t>  Earn, Save &amp; Invest, Protect, Spend, Borrow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b="1" dirty="0"/>
              <a:t>Grade Level </a:t>
            </a:r>
            <a:r>
              <a:rPr lang="en-IN" dirty="0"/>
              <a:t>- Elementary (K-1), Elementary (2-3), Elementary (4-5), Middle school (6-8), High School (9-10), High School (11-12)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b="1" dirty="0"/>
              <a:t>Age Range -</a:t>
            </a:r>
            <a:r>
              <a:rPr lang="en-IN" dirty="0"/>
              <a:t> 5-7, 7-9, 9-11, 11-14, 13-15, 16-19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b="1" dirty="0"/>
              <a:t>Student Characteristics - </a:t>
            </a:r>
            <a:r>
              <a:rPr lang="en-IN" dirty="0"/>
              <a:t>English Language Learners, Special Education, Low Income, Rural, Urba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b="1" dirty="0"/>
              <a:t>Activity Types -</a:t>
            </a:r>
            <a:r>
              <a:rPr lang="en-IN" dirty="0"/>
              <a:t> Individual, Small Group, Storytime, Whole Clas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b="1" dirty="0"/>
              <a:t>Teaching Strategy- </a:t>
            </a:r>
            <a:r>
              <a:rPr lang="en-IN" dirty="0"/>
              <a:t>Blended learning, Competency-Based learning, Cooperative Learning, Direct Instruction, Gamification, Personalized Instruction, Project-Based Learning, Simulation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b="1" dirty="0"/>
              <a:t>Bloom’s Taxonomy Level</a:t>
            </a:r>
            <a:r>
              <a:rPr lang="en-IN" dirty="0"/>
              <a:t> - Remember, Understand, Apply, Analyze, Evaluate, Create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b="1" dirty="0"/>
              <a:t>Activity Duration -</a:t>
            </a:r>
            <a:r>
              <a:rPr lang="en-IN" dirty="0"/>
              <a:t>  15-20minutes, 45-60 minutes, 75-90 minute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IN" b="1" dirty="0"/>
              <a:t>Standards - </a:t>
            </a:r>
            <a:r>
              <a:rPr lang="en-IN" dirty="0"/>
              <a:t>you can select byt the Council for Economic Education and/or Jump$tart Coalition standards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IN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</a:t>
            </a:fld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2864084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IN" sz="1200" b="0" i="0" u="none" strike="noStrike" cap="none" dirty="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Labor force participation is at </a:t>
            </a:r>
            <a:r>
              <a:rPr lang="en-IN" sz="1200" dirty="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1975</a:t>
            </a:r>
            <a:r>
              <a:rPr lang="en-IN" sz="1200" b="0" i="0" u="none" strike="noStrike" cap="none" dirty="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 levels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en-IN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4</a:t>
            </a:fld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960986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66928" lvl="2" indent="-144779" algn="l" rtl="0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99CB38"/>
              </a:buClr>
              <a:buSzPts val="1200"/>
              <a:buFont typeface="Calibri"/>
              <a:buChar char="◦"/>
            </a:pPr>
            <a:r>
              <a:rPr lang="en-IN" b="1" dirty="0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Features such as budget, convenience, pay monthly or daily, travel time, avoid walking</a:t>
            </a:r>
          </a:p>
          <a:p>
            <a:pPr marL="566928" lvl="2" indent="-182879" algn="l" rtl="0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3F3F3F"/>
              </a:buClr>
              <a:buSzPts val="1800"/>
              <a:buFont typeface="Libre Franklin"/>
              <a:buChar char="◦"/>
            </a:pPr>
            <a:r>
              <a:rPr lang="en-IN" b="1" dirty="0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Research and Compare - students may need help understanding what mass transportation options are available</a:t>
            </a:r>
          </a:p>
          <a:p>
            <a:pPr marL="566928" lvl="2" indent="-144779" algn="l" rtl="0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rgbClr val="99CB38"/>
              </a:buClr>
              <a:buSzPts val="1200"/>
              <a:buFont typeface="Calibri"/>
              <a:buChar char="◦"/>
            </a:pPr>
            <a:r>
              <a:rPr lang="en-IN" b="1" dirty="0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rPr>
              <a:t>Comparison shopping to make informed decisions - comparing prices, features, benefits, risks to determine the best option for you as an individual</a:t>
            </a:r>
          </a:p>
          <a:p>
            <a:pPr marL="566928" lvl="2" indent="-182879" algn="l" rtl="0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3F3F3F"/>
              </a:buClr>
              <a:buSzPts val="1800"/>
              <a:buFont typeface="Libre Franklin"/>
              <a:buChar char="◦"/>
            </a:pPr>
            <a:endParaRPr lang="en-IN" b="1" dirty="0">
              <a:solidFill>
                <a:srgbClr val="3F3F3F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  <a:p>
            <a:pPr marL="566928" lvl="2" indent="-182879" algn="l" rtl="0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3F3F3F"/>
              </a:buClr>
              <a:buSzPts val="1800"/>
              <a:buFont typeface="Libre Franklin"/>
              <a:buChar char="◦"/>
            </a:pPr>
            <a:endParaRPr lang="en-IN" b="1" dirty="0">
              <a:solidFill>
                <a:srgbClr val="3F3F3F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  <a:p>
            <a:pPr marL="566928" lvl="2" indent="-182879" algn="l" rtl="0">
              <a:lnSpc>
                <a:spcPct val="150000"/>
              </a:lnSpc>
              <a:spcBef>
                <a:spcPts val="400"/>
              </a:spcBef>
              <a:spcAft>
                <a:spcPts val="0"/>
              </a:spcAft>
              <a:buClr>
                <a:srgbClr val="3F3F3F"/>
              </a:buClr>
              <a:buSzPts val="1800"/>
              <a:buFont typeface="Libre Franklin"/>
              <a:buChar char="◦"/>
            </a:pPr>
            <a:endParaRPr lang="en-IN" b="1" dirty="0">
              <a:solidFill>
                <a:srgbClr val="3F3F3F"/>
              </a:solidFill>
              <a:latin typeface="Libre Franklin"/>
              <a:ea typeface="Libre Franklin"/>
              <a:cs typeface="Libre Franklin"/>
              <a:sym typeface="Libre Franklin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IN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</a:t>
            </a:fld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967097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IN" sz="1200" b="0" i="0" u="none" strike="noStrike" cap="none" dirty="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Unemployment rates for women have jumped between 2019 and 20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IN" sz="1200" b="1" i="0" u="none" strike="noStrike" cap="none" dirty="0">
                <a:solidFill>
                  <a:schemeClr val="dk2"/>
                </a:solidFill>
                <a:latin typeface="Lato"/>
                <a:ea typeface="Lato"/>
                <a:cs typeface="Lato"/>
                <a:sym typeface="Lato"/>
              </a:rPr>
              <a:t>Unemployment has skyrocketed among women aged 20-24 and has disproportionately affected Hispanic and Asian women. Now, Black and Hispanic women aged 16-24 have the highest rates of employment</a:t>
            </a:r>
            <a:endParaRPr lang="en-IN" sz="1100" b="0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endParaRPr lang="en-IN" sz="1200" b="0" i="0" u="none" strike="noStrike" cap="none" dirty="0">
              <a:solidFill>
                <a:schemeClr val="accent1"/>
              </a:solidFill>
              <a:latin typeface="Lato"/>
              <a:ea typeface="Lato"/>
              <a:cs typeface="Lato"/>
              <a:sym typeface="Lato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en-IN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</a:t>
            </a:fld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005254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IN" sz="1200" b="0" i="0" u="none" strike="noStrike" cap="none" dirty="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Labor force participation is at </a:t>
            </a:r>
            <a:r>
              <a:rPr lang="en-IN" sz="1200" dirty="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1975</a:t>
            </a:r>
            <a:r>
              <a:rPr lang="en-IN" sz="1200" b="0" i="0" u="none" strike="noStrike" cap="none" dirty="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 levels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8</a:t>
            </a:fld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729076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IN" sz="1200" b="0" i="0" u="none" strike="noStrike" cap="none" dirty="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Labor force participation is at </a:t>
            </a:r>
            <a:r>
              <a:rPr lang="en-IN" sz="1200" dirty="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1975</a:t>
            </a:r>
            <a:r>
              <a:rPr lang="en-IN" sz="1200" b="0" i="0" u="none" strike="noStrike" cap="none" dirty="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 levels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en-IN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9</a:t>
            </a:fld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077697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IN" sz="1200" b="0" i="0" u="none" strike="noStrike" cap="none" dirty="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Labor force participation is at </a:t>
            </a:r>
            <a:r>
              <a:rPr lang="en-IN" sz="1200" dirty="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1975</a:t>
            </a:r>
            <a:r>
              <a:rPr lang="en-IN" sz="1200" b="0" i="0" u="none" strike="noStrike" cap="none" dirty="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 levels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en-IN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0</a:t>
            </a:fld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054980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IN" sz="1200" b="0" i="0" u="none" strike="noStrike" cap="none" dirty="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Labor force participation is at </a:t>
            </a:r>
            <a:r>
              <a:rPr lang="en-IN" sz="1200" dirty="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1975</a:t>
            </a:r>
            <a:r>
              <a:rPr lang="en-IN" sz="1200" b="0" i="0" u="none" strike="noStrike" cap="none" dirty="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 levels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en-IN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1</a:t>
            </a:fld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820613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IN" sz="1200" b="0" i="0" u="none" strike="noStrike" cap="none" dirty="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Labor force participation is at </a:t>
            </a:r>
            <a:r>
              <a:rPr lang="en-IN" sz="1200" dirty="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1975</a:t>
            </a:r>
            <a:r>
              <a:rPr lang="en-IN" sz="1200" b="0" i="0" u="none" strike="noStrike" cap="none" dirty="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 levels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en-IN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2</a:t>
            </a:fld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541720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tabLst/>
              <a:defRPr/>
            </a:pPr>
            <a:r>
              <a:rPr lang="en-IN" sz="1200" b="0" i="0" u="none" strike="noStrike" cap="none" dirty="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Labor force participation is at </a:t>
            </a:r>
            <a:r>
              <a:rPr lang="en-IN" sz="1200" dirty="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1975</a:t>
            </a:r>
            <a:r>
              <a:rPr lang="en-IN" sz="1200" b="0" i="0" u="none" strike="noStrike" cap="none" dirty="0">
                <a:solidFill>
                  <a:schemeClr val="accent1"/>
                </a:solidFill>
                <a:latin typeface="Lato"/>
                <a:ea typeface="Lato"/>
                <a:cs typeface="Lato"/>
                <a:sym typeface="Lato"/>
              </a:rPr>
              <a:t> levels</a:t>
            </a: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lang="en-IN" dirty="0"/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13</a:t>
            </a:fld>
            <a:endParaRPr lang="en-US" sz="12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877617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type="title">
  <p:cSld name="TITLE">
    <p:spTree>
      <p:nvGrpSpPr>
        <p:cNvPr id="1" name="Shape 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Google Shape;19;p12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0" name="Google Shape;20;p12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1" name="Google Shape;21;p12"/>
          <p:cNvSpPr txBox="1"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8000"/>
              <a:buFont typeface="Libre Franklin Thin"/>
              <a:buNone/>
              <a:defRPr sz="8000">
                <a:solidFill>
                  <a:srgbClr val="262626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12"/>
          <p:cNvSpPr txBox="1">
            <a:spLocks noGrp="1"/>
          </p:cNvSpPr>
          <p:nvPr>
            <p:ph type="subTitle" idx="1"/>
          </p:nvPr>
        </p:nvSpPr>
        <p:spPr>
          <a:xfrm>
            <a:off x="1100051" y="4455620"/>
            <a:ext cx="10058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None/>
              <a:defRPr sz="2400" cap="none">
                <a:solidFill>
                  <a:schemeClr val="dk2"/>
                </a:solidFill>
                <a:latin typeface="Libre Franklin Thin"/>
                <a:ea typeface="Libre Franklin Thin"/>
                <a:cs typeface="Libre Franklin Thin"/>
                <a:sym typeface="Libre Franklin Thin"/>
              </a:defRPr>
            </a:lvl1pPr>
            <a:lvl2pPr lvl="1" algn="ctr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4pPr>
            <a:lvl5pPr lvl="4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5pPr>
            <a:lvl6pPr lvl="5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6pPr>
            <a:lvl7pPr lvl="6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7pPr>
            <a:lvl8pPr lvl="7" algn="ctr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2000"/>
              <a:buNone/>
              <a:defRPr sz="2000"/>
            </a:lvl8pPr>
            <a:lvl9pPr lvl="8" algn="ctr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2000"/>
              <a:buNone/>
              <a:defRPr sz="2000"/>
            </a:lvl9pPr>
          </a:lstStyle>
          <a:p>
            <a:endParaRPr/>
          </a:p>
        </p:txBody>
      </p:sp>
      <p:sp>
        <p:nvSpPr>
          <p:cNvPr id="23" name="Google Shape;23;p12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24" name="Google Shape;24;p12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25" name="Google Shape;25;p12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cxnSp>
        <p:nvCxnSpPr>
          <p:cNvPr id="26" name="Google Shape;26;p12"/>
          <p:cNvCxnSpPr/>
          <p:nvPr/>
        </p:nvCxnSpPr>
        <p:spPr>
          <a:xfrm>
            <a:off x="1207658" y="4343400"/>
            <a:ext cx="9875520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Vertical Text" type="vertTx">
  <p:cSld name="VERTICAL_TEXT"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p21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" name="Google Shape;89;p21"/>
          <p:cNvSpPr txBox="1">
            <a:spLocks noGrp="1"/>
          </p:cNvSpPr>
          <p:nvPr>
            <p:ph type="body" idx="1"/>
          </p:nvPr>
        </p:nvSpPr>
        <p:spPr>
          <a:xfrm rot="5400000">
            <a:off x="4114800" y="-1171786"/>
            <a:ext cx="4023360" cy="1005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0" rIns="4570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marL="914400" lvl="1" indent="-3429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marL="1828800" lvl="3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marL="2286000" lvl="4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90" name="Google Shape;90;p21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91" name="Google Shape;91;p21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92" name="Google Shape;92;p21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Vertical Title and Text" type="vertTitleAndTx">
  <p:cSld name="VERTICAL_TITLE_AND_VERTICAL_TEXT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Google Shape;94;p22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95" name="Google Shape;95;p22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96" name="Google Shape;96;p22"/>
          <p:cNvSpPr txBox="1">
            <a:spLocks noGrp="1"/>
          </p:cNvSpPr>
          <p:nvPr>
            <p:ph type="title"/>
          </p:nvPr>
        </p:nvSpPr>
        <p:spPr>
          <a:xfrm rot="5400000">
            <a:off x="7160640" y="1979039"/>
            <a:ext cx="5757421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" name="Google Shape;97;p22"/>
          <p:cNvSpPr txBox="1">
            <a:spLocks noGrp="1"/>
          </p:cNvSpPr>
          <p:nvPr>
            <p:ph type="body" idx="1"/>
          </p:nvPr>
        </p:nvSpPr>
        <p:spPr>
          <a:xfrm rot="5400000">
            <a:off x="1826639" y="-573661"/>
            <a:ext cx="5757422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0" rIns="45700" bIns="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marL="914400" lvl="1" indent="-3429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marL="1828800" lvl="3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marL="2286000" lvl="4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98" name="Google Shape;98;p22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99" name="Google Shape;99;p22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100" name="Google Shape;100;p22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13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Libre Franklin Thin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13"/>
          <p:cNvSpPr txBox="1"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marL="914400" lvl="1" indent="-3429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marL="1828800" lvl="3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marL="2286000" lvl="4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30" name="Google Shape;30;p13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31" name="Google Shape;31;p13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32" name="Google Shape;32;p13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Section Header" type="secHead">
  <p:cSld name="SECTION_HEADER">
    <p:bg>
      <p:bgPr>
        <a:solidFill>
          <a:schemeClr val="lt1"/>
        </a:solidFill>
        <a:effectLst/>
      </p:bgPr>
    </p:bg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1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5" name="Google Shape;35;p14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36" name="Google Shape;36;p14"/>
          <p:cNvSpPr txBox="1"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262626"/>
              </a:buClr>
              <a:buSzPts val="8000"/>
              <a:buFont typeface="Libre Franklin Thin"/>
              <a:buNone/>
              <a:defRPr sz="8000" b="0">
                <a:solidFill>
                  <a:srgbClr val="262626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14"/>
          <p:cNvSpPr txBox="1"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400"/>
              <a:buNone/>
              <a:defRPr sz="2400" cap="none">
                <a:solidFill>
                  <a:schemeClr val="dk2"/>
                </a:solidFill>
                <a:latin typeface="Libre Franklin Thin"/>
                <a:ea typeface="Libre Franklin Thin"/>
                <a:cs typeface="Libre Franklin Thin"/>
                <a:sym typeface="Libre Franklin Thin"/>
              </a:defRPr>
            </a:lvl1pPr>
            <a:lvl2pPr marL="914400" lvl="1" indent="-2286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400"/>
              <a:buNone/>
              <a:defRPr sz="14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8" name="Google Shape;38;p14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39" name="Google Shape;39;p14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40" name="Google Shape;40;p14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cxnSp>
        <p:nvCxnSpPr>
          <p:cNvPr id="41" name="Google Shape;41;p14"/>
          <p:cNvCxnSpPr/>
          <p:nvPr/>
        </p:nvCxnSpPr>
        <p:spPr>
          <a:xfrm>
            <a:off x="1207658" y="4343400"/>
            <a:ext cx="9875520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15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15"/>
          <p:cNvSpPr txBox="1">
            <a:spLocks noGrp="1"/>
          </p:cNvSpPr>
          <p:nvPr>
            <p:ph type="body" idx="1"/>
          </p:nvPr>
        </p:nvSpPr>
        <p:spPr>
          <a:xfrm>
            <a:off x="1097279" y="1845734"/>
            <a:ext cx="4937760" cy="402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marL="914400" lvl="1" indent="-3429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marL="1828800" lvl="3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marL="2286000" lvl="4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45" name="Google Shape;45;p15"/>
          <p:cNvSpPr txBox="1">
            <a:spLocks noGrp="1"/>
          </p:cNvSpPr>
          <p:nvPr>
            <p:ph type="body" idx="2"/>
          </p:nvPr>
        </p:nvSpPr>
        <p:spPr>
          <a:xfrm>
            <a:off x="6217920" y="1845735"/>
            <a:ext cx="4937760" cy="402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marL="914400" lvl="1" indent="-3429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marL="1828800" lvl="3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marL="2286000" lvl="4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46" name="Google Shape;46;p15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47" name="Google Shape;47;p15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48" name="Google Shape;48;p15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16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16"/>
          <p:cNvSpPr txBox="1"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000"/>
              <a:buNone/>
              <a:defRPr sz="2000" b="0" cap="none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" name="Google Shape;52;p16"/>
          <p:cNvSpPr txBox="1">
            <a:spLocks noGrp="1"/>
          </p:cNvSpPr>
          <p:nvPr>
            <p:ph type="body" idx="2"/>
          </p:nvPr>
        </p:nvSpPr>
        <p:spPr>
          <a:xfrm>
            <a:off x="1097280" y="2582334"/>
            <a:ext cx="4937760" cy="33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marL="914400" lvl="1" indent="-3429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marL="1828800" lvl="3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marL="2286000" lvl="4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53" name="Google Shape;53;p16"/>
          <p:cNvSpPr txBox="1">
            <a:spLocks noGrp="1"/>
          </p:cNvSpPr>
          <p:nvPr>
            <p:ph type="body" idx="3"/>
          </p:nvPr>
        </p:nvSpPr>
        <p:spPr>
          <a:xfrm>
            <a:off x="6217920" y="1846052"/>
            <a:ext cx="4937760" cy="7362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2000"/>
              <a:buNone/>
              <a:defRPr sz="2000" b="0" cap="none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4" name="Google Shape;54;p16"/>
          <p:cNvSpPr txBox="1">
            <a:spLocks noGrp="1"/>
          </p:cNvSpPr>
          <p:nvPr>
            <p:ph type="body" idx="4"/>
          </p:nvPr>
        </p:nvSpPr>
        <p:spPr>
          <a:xfrm>
            <a:off x="6217920" y="2582334"/>
            <a:ext cx="4937760" cy="3378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marL="914400" lvl="1" indent="-3429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marL="1828800" lvl="3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marL="2286000" lvl="4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55" name="Google Shape;55;p16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56" name="Google Shape;56;p16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57" name="Google Shape;57;p16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7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17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61" name="Google Shape;61;p17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62" name="Google Shape;62;p17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>
  <p:cSld name="BLANK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8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5" name="Google Shape;65;p18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66" name="Google Shape;66;p18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67" name="Google Shape;67;p18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FFFFFF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68" name="Google Shape;68;p18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with Caption" type="objTx">
  <p:cSld name="OBJECT_WITH_CAPTION_TEXT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Google Shape;70;p19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71" name="Google Shape;71;p19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72" name="Google Shape;72;p19"/>
          <p:cNvSpPr txBox="1"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Libre Franklin Thin"/>
              <a:buNone/>
              <a:defRPr sz="3600" b="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" name="Google Shape;73;p19"/>
          <p:cNvSpPr txBox="1">
            <a:spLocks noGrp="1"/>
          </p:cNvSpPr>
          <p:nvPr>
            <p:ph type="body" idx="1"/>
          </p:nvPr>
        </p:nvSpPr>
        <p:spPr>
          <a:xfrm>
            <a:off x="4800600" y="731520"/>
            <a:ext cx="6492240" cy="5257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800"/>
              <a:buChar char=" "/>
              <a:defRPr/>
            </a:lvl1pPr>
            <a:lvl2pPr marL="914400" lvl="1" indent="-3429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800"/>
              <a:buChar char="◦"/>
              <a:defRPr/>
            </a:lvl2pPr>
            <a:lvl3pPr marL="1371600" lvl="2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3pPr>
            <a:lvl4pPr marL="1828800" lvl="3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4pPr>
            <a:lvl5pPr marL="2286000" lvl="4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5pPr>
            <a:lvl6pPr marL="2743200" lvl="5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6pPr>
            <a:lvl7pPr marL="3200400" lvl="6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7pPr>
            <a:lvl8pPr marL="3657600" lvl="7" indent="-3429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800"/>
              <a:buChar char="◦"/>
              <a:defRPr/>
            </a:lvl8pPr>
            <a:lvl9pPr marL="4114800" lvl="8" indent="-3429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1800"/>
              <a:buChar char="◦"/>
              <a:defRPr/>
            </a:lvl9pPr>
          </a:lstStyle>
          <a:p>
            <a:endParaRPr/>
          </a:p>
        </p:txBody>
      </p:sp>
      <p:sp>
        <p:nvSpPr>
          <p:cNvPr id="74" name="Google Shape;74;p19"/>
          <p:cNvSpPr txBox="1">
            <a:spLocks noGrp="1"/>
          </p:cNvSpPr>
          <p:nvPr>
            <p:ph type="body" idx="2"/>
          </p:nvPr>
        </p:nvSpPr>
        <p:spPr>
          <a:xfrm>
            <a:off x="457200" y="2926080"/>
            <a:ext cx="3200400" cy="3379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SzPts val="1500"/>
              <a:buNone/>
              <a:defRPr sz="1500">
                <a:solidFill>
                  <a:srgbClr val="FFFFFF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75" name="Google Shape;75;p19"/>
          <p:cNvSpPr txBox="1">
            <a:spLocks noGrp="1"/>
          </p:cNvSpPr>
          <p:nvPr>
            <p:ph type="dt" idx="10"/>
          </p:nvPr>
        </p:nvSpPr>
        <p:spPr>
          <a:xfrm>
            <a:off x="465512" y="6459785"/>
            <a:ext cx="261851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76" name="Google Shape;76;p19"/>
          <p:cNvSpPr txBox="1">
            <a:spLocks noGrp="1"/>
          </p:cNvSpPr>
          <p:nvPr>
            <p:ph type="ftr" idx="11"/>
          </p:nvPr>
        </p:nvSpPr>
        <p:spPr>
          <a:xfrm>
            <a:off x="4800600" y="6459785"/>
            <a:ext cx="4648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chemeClr val="dk2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77" name="Google Shape;77;p19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5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0" lvl="1" indent="0" algn="r">
              <a:spcBef>
                <a:spcPts val="0"/>
              </a:spcBef>
              <a:buNone/>
              <a:defRPr sz="105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0" lvl="2" indent="0" algn="r">
              <a:spcBef>
                <a:spcPts val="0"/>
              </a:spcBef>
              <a:buNone/>
              <a:defRPr sz="105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0" lvl="3" indent="0" algn="r">
              <a:spcBef>
                <a:spcPts val="0"/>
              </a:spcBef>
              <a:buNone/>
              <a:defRPr sz="105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0" lvl="4" indent="0" algn="r">
              <a:spcBef>
                <a:spcPts val="0"/>
              </a:spcBef>
              <a:buNone/>
              <a:defRPr sz="105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0" lvl="5" indent="0" algn="r">
              <a:spcBef>
                <a:spcPts val="0"/>
              </a:spcBef>
              <a:buNone/>
              <a:defRPr sz="105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0" lvl="6" indent="0" algn="r">
              <a:spcBef>
                <a:spcPts val="0"/>
              </a:spcBef>
              <a:buNone/>
              <a:defRPr sz="105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0" lvl="7" indent="0" algn="r">
              <a:spcBef>
                <a:spcPts val="0"/>
              </a:spcBef>
              <a:buNone/>
              <a:defRPr sz="105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0" lvl="8" indent="0" algn="r">
              <a:spcBef>
                <a:spcPts val="0"/>
              </a:spcBef>
              <a:buNone/>
              <a:defRPr sz="1050" b="0" i="0" u="none" strike="noStrike" cap="none">
                <a:solidFill>
                  <a:schemeClr val="dk2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icture with Caption" type="picTx">
  <p:cSld name="PICTURE_WITH_CAPTION_TEXT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20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0" name="Google Shape;80;p20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1" name="Google Shape;81;p20"/>
          <p:cNvSpPr txBox="1">
            <a:spLocks noGrp="1"/>
          </p:cNvSpPr>
          <p:nvPr>
            <p:ph type="title"/>
          </p:nvPr>
        </p:nvSpPr>
        <p:spPr>
          <a:xfrm>
            <a:off x="1097280" y="5074920"/>
            <a:ext cx="10113264" cy="822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Font typeface="Libre Franklin Thin"/>
              <a:buNone/>
              <a:defRPr sz="3600" b="0">
                <a:solidFill>
                  <a:srgbClr val="FFFFF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20"/>
          <p:cNvSpPr>
            <a:spLocks noGrp="1"/>
          </p:cNvSpPr>
          <p:nvPr>
            <p:ph type="pic" idx="2"/>
          </p:nvPr>
        </p:nvSpPr>
        <p:spPr>
          <a:xfrm>
            <a:off x="15" y="0"/>
            <a:ext cx="12191985" cy="4915076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457200" tIns="457200" rIns="0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3200"/>
              <a:buFont typeface="Calibri"/>
              <a:buNone/>
              <a:defRPr sz="3200" b="0" i="0" u="none" strike="noStrike" cap="none">
                <a:solidFill>
                  <a:schemeClr val="lt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Calibri"/>
              <a:buNone/>
              <a:defRPr sz="2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R="0" lvl="2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Calibri"/>
              <a:buNone/>
              <a:defRPr sz="2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R="0" lvl="3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R="0" lvl="4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R="0" lvl="5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R="0" lvl="6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R="0" lvl="7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R="0" lvl="8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2000"/>
              <a:buFont typeface="Calibri"/>
              <a:buNone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endParaRPr dirty="0"/>
          </a:p>
        </p:txBody>
      </p:sp>
      <p:sp>
        <p:nvSpPr>
          <p:cNvPr id="83" name="Google Shape;83;p20"/>
          <p:cNvSpPr txBox="1">
            <a:spLocks noGrp="1"/>
          </p:cNvSpPr>
          <p:nvPr>
            <p:ph type="body" idx="1"/>
          </p:nvPr>
        </p:nvSpPr>
        <p:spPr>
          <a:xfrm>
            <a:off x="1097280" y="5907023"/>
            <a:ext cx="10113264" cy="594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sz="1500">
                <a:solidFill>
                  <a:srgbClr val="FFFFFF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84" name="Google Shape;84;p20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85" name="Google Shape;85;p20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86" name="Google Shape;86;p20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1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1" name="Google Shape;11;p11"/>
          <p:cNvSpPr/>
          <p:nvPr/>
        </p:nvSpPr>
        <p:spPr>
          <a:xfrm>
            <a:off x="0" y="6334316"/>
            <a:ext cx="12192000" cy="65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2" name="Google Shape;12;p11"/>
          <p:cNvSpPr txBox="1"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3F3F3F"/>
              </a:buClr>
              <a:buSzPts val="4800"/>
              <a:buFont typeface="Libre Franklin Thin"/>
              <a:buNone/>
              <a:defRPr sz="4800" b="0" i="0" u="none" strike="noStrike" cap="none">
                <a:solidFill>
                  <a:srgbClr val="3F3F3F"/>
                </a:solidFill>
                <a:latin typeface="Libre Franklin Thin"/>
                <a:ea typeface="Libre Franklin Thin"/>
                <a:cs typeface="Libre Franklin Thin"/>
                <a:sym typeface="Libre Franklin Thin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3" name="Google Shape;13;p11"/>
          <p:cNvSpPr txBox="1"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rmAutofit/>
          </a:bodyPr>
          <a:lstStyle>
            <a:lvl1pPr marL="457200" marR="0" lvl="0" indent="-3556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4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endParaRPr/>
          </a:p>
        </p:txBody>
      </p:sp>
      <p:sp>
        <p:nvSpPr>
          <p:cNvPr id="14" name="Google Shape;14;p11"/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15" name="Google Shape;15;p11"/>
          <p:cNvSpPr txBox="1">
            <a:spLocks noGrp="1"/>
          </p:cNvSpPr>
          <p:nvPr>
            <p:ph type="ft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endParaRPr dirty="0"/>
          </a:p>
        </p:txBody>
      </p:sp>
      <p:sp>
        <p:nvSpPr>
          <p:cNvPr id="16" name="Google Shape;16;p11"/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0" marR="0" lvl="1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0" marR="0" lvl="2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0" marR="0" lvl="3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0" marR="0" lvl="4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0" marR="0" lvl="5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0" marR="0" lvl="6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0" marR="0" lvl="7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0" marR="0" lvl="8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  <p:cxnSp>
        <p:nvCxnSpPr>
          <p:cNvPr id="17" name="Google Shape;17;p11"/>
          <p:cNvCxnSpPr/>
          <p:nvPr/>
        </p:nvCxnSpPr>
        <p:spPr>
          <a:xfrm>
            <a:off x="1193532" y="1737845"/>
            <a:ext cx="9966960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round/>
            <a:headEnd type="none" w="sm" len="sm"/>
            <a:tailEnd type="none" w="sm" len="sm"/>
          </a:ln>
        </p:spPr>
      </p:cxn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hyperlink" Target="mailto:Christy@uw.edu" TargetMode="Externa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tags" Target="../tags/tag21.xml"/><Relationship Id="rId7" Type="http://schemas.openxmlformats.org/officeDocument/2006/relationships/image" Target="../media/image2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Relationship Id="rId9" Type="http://schemas.openxmlformats.org/officeDocument/2006/relationships/hyperlink" Target="mailto:https://nces.ed.gov/collegenavigator/" TargetMode="Externa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23.xml"/><Relationship Id="rId7" Type="http://schemas.openxmlformats.org/officeDocument/2006/relationships/image" Target="../media/image2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tags" Target="../tags/tag25.xml"/><Relationship Id="rId7" Type="http://schemas.openxmlformats.org/officeDocument/2006/relationships/image" Target="../media/image2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27.xml"/><Relationship Id="rId7" Type="http://schemas.openxmlformats.org/officeDocument/2006/relationships/image" Target="../media/image2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2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stlouisfed.org/education/page-one-economics-classroom-edition/the-rising-cost-of-college-tuition-financial-aid-and-price-discrimination" TargetMode="External"/><Relationship Id="rId3" Type="http://schemas.openxmlformats.org/officeDocument/2006/relationships/tags" Target="../tags/tag31.xml"/><Relationship Id="rId7" Type="http://schemas.openxmlformats.org/officeDocument/2006/relationships/hyperlink" Target="https://www.federalreserveeducation.org/" TargetMode="Externa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11" Type="http://schemas.openxmlformats.org/officeDocument/2006/relationships/hyperlink" Target="https://www.burning-glass.com/hechinger-report-pressure-mounts-universities-anticipate-demand-jobs/" TargetMode="External"/><Relationship Id="rId5" Type="http://schemas.openxmlformats.org/officeDocument/2006/relationships/oleObject" Target="../embeddings/oleObject15.bin"/><Relationship Id="rId10" Type="http://schemas.openxmlformats.org/officeDocument/2006/relationships/hyperlink" Target="https://economistfoundation.org/resources/" TargetMode="External"/><Relationship Id="rId4" Type="http://schemas.openxmlformats.org/officeDocument/2006/relationships/slideLayout" Target="../slideLayouts/slideLayout2.xml"/><Relationship Id="rId9" Type="http://schemas.openxmlformats.org/officeDocument/2006/relationships/hyperlink" Target="https://economicgraph.linkedin.com/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hyperlink" Target="mailto:christye@uw.edu" TargetMode="Externa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Relationship Id="rId9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3.xml"/><Relationship Id="rId7" Type="http://schemas.openxmlformats.org/officeDocument/2006/relationships/chart" Target="../charts/chart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tags" Target="../tags/tag19.xml"/><Relationship Id="rId7" Type="http://schemas.openxmlformats.org/officeDocument/2006/relationships/image" Target="../media/image2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E67135-23E3-4523-A7D0-AC9B51D5A29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2948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6"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10DF3AEA-BC9E-4B0D-9EAA-0055AB9D286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IN" sz="5400" dirty="0">
              <a:latin typeface="Libre Franklin Thin" panose="020B0604020202020204" charset="0"/>
              <a:sym typeface="Libre Franklin Thin" panose="020B060402020202020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ACD54208-6633-496F-9046-A899D1127DB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IN" sz="5400" dirty="0"/>
              <a:t>Exploring post high school education (in a way that meets math standards)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FF5521E5-EA65-4AE8-819C-274FDE2B37D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marL="0" indent="0"/>
            <a:r>
              <a:rPr lang="en-IN" dirty="0">
                <a:solidFill>
                  <a:srgbClr val="3F3F3F"/>
                </a:solidFill>
              </a:rPr>
              <a:t>Christy Johnson, </a:t>
            </a:r>
            <a:r>
              <a:rPr lang="en-IN" dirty="0">
                <a:solidFill>
                  <a:srgbClr val="3F3F3F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hristy@uw.edu</a:t>
            </a:r>
            <a:r>
              <a:rPr lang="en-IN" dirty="0">
                <a:solidFill>
                  <a:srgbClr val="3F3F3F"/>
                </a:solidFill>
              </a:rPr>
              <a:t>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8D917A6-DB59-455C-ACFE-2A182491766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545344" y="5177392"/>
            <a:ext cx="8516850" cy="1103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99862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F71748D-9BAC-4CD3-B8EF-1C01B0C59E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50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5" name="think-cell Slide" r:id="rId6" imgW="353" imgH="363" progId="TCLayout.ActiveDocument.1">
                  <p:embed/>
                </p:oleObj>
              </mc:Choice>
              <mc:Fallback>
                <p:oleObj name="think-cell Slide" r:id="rId6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F71748D-9BAC-4CD3-B8EF-1C01B0C59E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3DB473B-449D-40A2-B039-9519995270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IN" sz="4800" dirty="0">
              <a:latin typeface="Libre Franklin Thin" panose="020B0604020202020204" charset="0"/>
              <a:sym typeface="Libre Franklin Thin" panose="020B060402020202020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F59EC7-7F75-4425-84B9-5F81AA26E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IN" dirty="0"/>
              <a:t>Breakout: How much does college cost? </a:t>
            </a:r>
          </a:p>
        </p:txBody>
      </p:sp>
      <p:sp>
        <p:nvSpPr>
          <p:cNvPr id="4" name="Google Shape;14;p11">
            <a:extLst>
              <a:ext uri="{FF2B5EF4-FFF2-40B4-BE49-F238E27FC236}">
                <a16:creationId xmlns:a16="http://schemas.microsoft.com/office/drawing/2014/main" id="{523CACD1-B6E9-484D-A93B-291133AC6C74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5" name="Google Shape;16;p11">
            <a:extLst>
              <a:ext uri="{FF2B5EF4-FFF2-40B4-BE49-F238E27FC236}">
                <a16:creationId xmlns:a16="http://schemas.microsoft.com/office/drawing/2014/main" id="{9784C0D3-4933-4B52-8B1E-2435F19A276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0" marR="0" lvl="1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0" marR="0" lvl="2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0" marR="0" lvl="3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0" marR="0" lvl="4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0" marR="0" lvl="5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0" marR="0" lvl="6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0" marR="0" lvl="7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0" marR="0" lvl="8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0</a:t>
            </a:fld>
            <a:endParaRPr dirty="0"/>
          </a:p>
        </p:txBody>
      </p:sp>
      <p:pic>
        <p:nvPicPr>
          <p:cNvPr id="10" name="Picture 2" descr="Washington state's big bet on 'free college'">
            <a:extLst>
              <a:ext uri="{FF2B5EF4-FFF2-40B4-BE49-F238E27FC236}">
                <a16:creationId xmlns:a16="http://schemas.microsoft.com/office/drawing/2014/main" id="{C7C33018-78F3-435A-868F-9D011F08AF0C}"/>
              </a:ext>
            </a:extLst>
          </p:cNvPr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97280" y="1844351"/>
            <a:ext cx="6007514" cy="3997728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1C48D81-4B57-4B4C-9B43-E0B4AAE4B270}"/>
              </a:ext>
            </a:extLst>
          </p:cNvPr>
          <p:cNvSpPr txBox="1">
            <a:spLocks/>
          </p:cNvSpPr>
          <p:nvPr/>
        </p:nvSpPr>
        <p:spPr>
          <a:xfrm>
            <a:off x="7901354" y="1844350"/>
            <a:ext cx="3254326" cy="399772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spcFirstLastPara="1" wrap="square" lIns="91440" tIns="45720" rIns="91440" bIns="4572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IN" dirty="0"/>
              <a:t>Compare tuition, fees, and estimated students expenses among community college, public four-year college/university, and private college/university. Instruct students to click the link to the college navigator (</a:t>
            </a:r>
            <a:r>
              <a:rPr lang="en-IN" dirty="0"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nces.ed.gov/collegenavigator/</a:t>
            </a:r>
            <a:r>
              <a:rPr lang="en-IN" dirty="0"/>
              <a:t> ) </a:t>
            </a:r>
          </a:p>
        </p:txBody>
      </p:sp>
    </p:spTree>
    <p:extLst>
      <p:ext uri="{BB962C8B-B14F-4D97-AF65-F5344CB8AC3E}">
        <p14:creationId xmlns:p14="http://schemas.microsoft.com/office/powerpoint/2010/main" val="373954718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F71748D-9BAC-4CD3-B8EF-1C01B0C59E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7101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9" name="think-cell Slide" r:id="rId6" imgW="353" imgH="363" progId="TCLayout.ActiveDocument.1">
                  <p:embed/>
                </p:oleObj>
              </mc:Choice>
              <mc:Fallback>
                <p:oleObj name="think-cell Slide" r:id="rId6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F71748D-9BAC-4CD3-B8EF-1C01B0C59E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3DB473B-449D-40A2-B039-9519995270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IN" sz="4800" dirty="0">
              <a:latin typeface="Libre Franklin Thin" panose="020B0604020202020204" charset="0"/>
              <a:sym typeface="Libre Franklin Thin" panose="020B060402020202020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F59EC7-7F75-4425-84B9-5F81AA26E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IN" dirty="0"/>
              <a:t>How would you fund college?</a:t>
            </a:r>
          </a:p>
        </p:txBody>
      </p:sp>
      <p:sp>
        <p:nvSpPr>
          <p:cNvPr id="4" name="Google Shape;14;p11">
            <a:extLst>
              <a:ext uri="{FF2B5EF4-FFF2-40B4-BE49-F238E27FC236}">
                <a16:creationId xmlns:a16="http://schemas.microsoft.com/office/drawing/2014/main" id="{523CACD1-B6E9-484D-A93B-291133AC6C74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5" name="Google Shape;16;p11">
            <a:extLst>
              <a:ext uri="{FF2B5EF4-FFF2-40B4-BE49-F238E27FC236}">
                <a16:creationId xmlns:a16="http://schemas.microsoft.com/office/drawing/2014/main" id="{9784C0D3-4933-4B52-8B1E-2435F19A276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0" marR="0" lvl="1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0" marR="0" lvl="2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0" marR="0" lvl="3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0" marR="0" lvl="4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0" marR="0" lvl="5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0" marR="0" lvl="6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0" marR="0" lvl="7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0" marR="0" lvl="8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1</a:t>
            </a:fld>
            <a:endParaRPr dirty="0"/>
          </a:p>
        </p:txBody>
      </p:sp>
      <p:pic>
        <p:nvPicPr>
          <p:cNvPr id="12" name="Picture 2" descr="Can You Fund Your Retirement And Your Kid's College Too?">
            <a:extLst>
              <a:ext uri="{FF2B5EF4-FFF2-40B4-BE49-F238E27FC236}">
                <a16:creationId xmlns:a16="http://schemas.microsoft.com/office/drawing/2014/main" id="{463EA491-3EFA-4355-A88C-F1DFE1671C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97280" y="1837510"/>
            <a:ext cx="6008666" cy="398400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26FBE026-C4FE-42B1-BB72-36DA042E3D0B}"/>
              </a:ext>
            </a:extLst>
          </p:cNvPr>
          <p:cNvSpPr txBox="1">
            <a:spLocks/>
          </p:cNvSpPr>
          <p:nvPr/>
        </p:nvSpPr>
        <p:spPr>
          <a:xfrm>
            <a:off x="7901354" y="1844350"/>
            <a:ext cx="3254326" cy="399772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spcFirstLastPara="1" wrap="square" lIns="91440" tIns="45720" rIns="91440" bIns="4572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IN" dirty="0"/>
              <a:t>Menti w/ polls</a:t>
            </a:r>
          </a:p>
        </p:txBody>
      </p:sp>
    </p:spTree>
    <p:extLst>
      <p:ext uri="{BB962C8B-B14F-4D97-AF65-F5344CB8AC3E}">
        <p14:creationId xmlns:p14="http://schemas.microsoft.com/office/powerpoint/2010/main" val="19193451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F71748D-9BAC-4CD3-B8EF-1C01B0C59E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3938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3" name="think-cell Slide" r:id="rId6" imgW="353" imgH="363" progId="TCLayout.ActiveDocument.1">
                  <p:embed/>
                </p:oleObj>
              </mc:Choice>
              <mc:Fallback>
                <p:oleObj name="think-cell Slide" r:id="rId6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F71748D-9BAC-4CD3-B8EF-1C01B0C59E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3DB473B-449D-40A2-B039-9519995270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IN" sz="4100" dirty="0">
              <a:latin typeface="Libre Franklin Thin" panose="020B0604020202020204" charset="0"/>
              <a:sym typeface="Libre Franklin Thin" panose="020B060402020202020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F59EC7-7F75-4425-84B9-5F81AA26E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>
            <a:noAutofit/>
          </a:bodyPr>
          <a:lstStyle/>
          <a:p>
            <a:r>
              <a:rPr lang="en-IN" sz="4100" dirty="0"/>
              <a:t>You’ll want to think about the relationship between degree and income</a:t>
            </a:r>
          </a:p>
        </p:txBody>
      </p:sp>
      <p:sp>
        <p:nvSpPr>
          <p:cNvPr id="4" name="Google Shape;14;p11">
            <a:extLst>
              <a:ext uri="{FF2B5EF4-FFF2-40B4-BE49-F238E27FC236}">
                <a16:creationId xmlns:a16="http://schemas.microsoft.com/office/drawing/2014/main" id="{523CACD1-B6E9-484D-A93B-291133AC6C74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5" name="Google Shape;16;p11">
            <a:extLst>
              <a:ext uri="{FF2B5EF4-FFF2-40B4-BE49-F238E27FC236}">
                <a16:creationId xmlns:a16="http://schemas.microsoft.com/office/drawing/2014/main" id="{9784C0D3-4933-4B52-8B1E-2435F19A276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0" marR="0" lvl="1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0" marR="0" lvl="2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0" marR="0" lvl="3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0" marR="0" lvl="4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0" marR="0" lvl="5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0" marR="0" lvl="6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0" marR="0" lvl="7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0" marR="0" lvl="8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2</a:t>
            </a:fld>
            <a:endParaRPr dirty="0"/>
          </a:p>
        </p:txBody>
      </p:sp>
      <p:pic>
        <p:nvPicPr>
          <p:cNvPr id="10" name="Picture 2" descr="8 Best Masters degree for the future after your undergraduate program.">
            <a:extLst>
              <a:ext uri="{FF2B5EF4-FFF2-40B4-BE49-F238E27FC236}">
                <a16:creationId xmlns:a16="http://schemas.microsoft.com/office/drawing/2014/main" id="{B382CD7E-692B-4001-BC41-75CBE8F542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97280" y="1835709"/>
            <a:ext cx="6008666" cy="399849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C375F4C-4670-4ED8-9982-F45FF6E52F7B}"/>
              </a:ext>
            </a:extLst>
          </p:cNvPr>
          <p:cNvSpPr txBox="1">
            <a:spLocks/>
          </p:cNvSpPr>
          <p:nvPr/>
        </p:nvSpPr>
        <p:spPr>
          <a:xfrm>
            <a:off x="7901354" y="1844350"/>
            <a:ext cx="3254326" cy="399772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spcFirstLastPara="1" wrap="square" lIns="91440" tIns="45720" rIns="91440" bIns="4572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IN" dirty="0"/>
              <a:t>Menti w/ polls</a:t>
            </a:r>
          </a:p>
        </p:txBody>
      </p:sp>
    </p:spTree>
    <p:extLst>
      <p:ext uri="{BB962C8B-B14F-4D97-AF65-F5344CB8AC3E}">
        <p14:creationId xmlns:p14="http://schemas.microsoft.com/office/powerpoint/2010/main" val="106653052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F71748D-9BAC-4CD3-B8EF-1C01B0C59E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8504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7" name="think-cell Slide" r:id="rId6" imgW="353" imgH="363" progId="TCLayout.ActiveDocument.1">
                  <p:embed/>
                </p:oleObj>
              </mc:Choice>
              <mc:Fallback>
                <p:oleObj name="think-cell Slide" r:id="rId6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F71748D-9BAC-4CD3-B8EF-1C01B0C59E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3DB473B-449D-40A2-B039-9519995270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IN" sz="4000" dirty="0">
              <a:latin typeface="Libre Franklin Thin" panose="020B0604020202020204" charset="0"/>
              <a:sym typeface="Libre Franklin Thin" panose="020B060402020202020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F59EC7-7F75-4425-84B9-5F81AA26E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>
            <a:noAutofit/>
          </a:bodyPr>
          <a:lstStyle/>
          <a:p>
            <a:r>
              <a:rPr lang="en-IN" dirty="0"/>
              <a:t>Breakout</a:t>
            </a:r>
          </a:p>
        </p:txBody>
      </p:sp>
      <p:sp>
        <p:nvSpPr>
          <p:cNvPr id="4" name="Google Shape;14;p11">
            <a:extLst>
              <a:ext uri="{FF2B5EF4-FFF2-40B4-BE49-F238E27FC236}">
                <a16:creationId xmlns:a16="http://schemas.microsoft.com/office/drawing/2014/main" id="{523CACD1-B6E9-484D-A93B-291133AC6C74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5" name="Google Shape;16;p11">
            <a:extLst>
              <a:ext uri="{FF2B5EF4-FFF2-40B4-BE49-F238E27FC236}">
                <a16:creationId xmlns:a16="http://schemas.microsoft.com/office/drawing/2014/main" id="{9784C0D3-4933-4B52-8B1E-2435F19A276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0" marR="0" lvl="1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0" marR="0" lvl="2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0" marR="0" lvl="3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0" marR="0" lvl="4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0" marR="0" lvl="5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0" marR="0" lvl="6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0" marR="0" lvl="7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0" marR="0" lvl="8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3</a:t>
            </a:fld>
            <a:endParaRPr dirty="0"/>
          </a:p>
        </p:txBody>
      </p:sp>
      <p:pic>
        <p:nvPicPr>
          <p:cNvPr id="12" name="Picture 2" descr="162 Future Jobs – The Video - Futurist Speaker">
            <a:extLst>
              <a:ext uri="{FF2B5EF4-FFF2-40B4-BE49-F238E27FC236}">
                <a16:creationId xmlns:a16="http://schemas.microsoft.com/office/drawing/2014/main" id="{B01065FB-3539-4044-9606-5EEA592DD4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97280" y="1844350"/>
            <a:ext cx="6609533" cy="396571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216BAE7-5CC1-4474-98BD-63D91F3CA896}"/>
              </a:ext>
            </a:extLst>
          </p:cNvPr>
          <p:cNvSpPr txBox="1">
            <a:spLocks/>
          </p:cNvSpPr>
          <p:nvPr/>
        </p:nvSpPr>
        <p:spPr>
          <a:xfrm>
            <a:off x="7901354" y="1844350"/>
            <a:ext cx="3254326" cy="399772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spcFirstLastPara="1" wrap="square" lIns="91440" tIns="45720" rIns="91440" bIns="4572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IN" dirty="0"/>
              <a:t>Which h jobs are most in demand?</a:t>
            </a:r>
          </a:p>
        </p:txBody>
      </p:sp>
    </p:spTree>
    <p:extLst>
      <p:ext uri="{BB962C8B-B14F-4D97-AF65-F5344CB8AC3E}">
        <p14:creationId xmlns:p14="http://schemas.microsoft.com/office/powerpoint/2010/main" val="31143782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F71748D-9BAC-4CD3-B8EF-1C01B0C59E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6531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1" name="think-cell Slide" r:id="rId6" imgW="353" imgH="363" progId="TCLayout.ActiveDocument.1">
                  <p:embed/>
                </p:oleObj>
              </mc:Choice>
              <mc:Fallback>
                <p:oleObj name="think-cell Slide" r:id="rId6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F71748D-9BAC-4CD3-B8EF-1C01B0C59E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3DB473B-449D-40A2-B039-9519995270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IN" sz="4000" dirty="0">
              <a:latin typeface="Libre Franklin Thin" panose="020B0604020202020204" charset="0"/>
              <a:sym typeface="Libre Franklin Thin" panose="020B060402020202020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F59EC7-7F75-4425-84B9-5F81AA26E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>
            <a:noAutofit/>
          </a:bodyPr>
          <a:lstStyle/>
          <a:p>
            <a:r>
              <a:rPr lang="en-IN" dirty="0"/>
              <a:t>Breakout</a:t>
            </a:r>
          </a:p>
        </p:txBody>
      </p:sp>
      <p:sp>
        <p:nvSpPr>
          <p:cNvPr id="4" name="Google Shape;14;p11">
            <a:extLst>
              <a:ext uri="{FF2B5EF4-FFF2-40B4-BE49-F238E27FC236}">
                <a16:creationId xmlns:a16="http://schemas.microsoft.com/office/drawing/2014/main" id="{523CACD1-B6E9-484D-A93B-291133AC6C74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5" name="Google Shape;16;p11">
            <a:extLst>
              <a:ext uri="{FF2B5EF4-FFF2-40B4-BE49-F238E27FC236}">
                <a16:creationId xmlns:a16="http://schemas.microsoft.com/office/drawing/2014/main" id="{9784C0D3-4933-4B52-8B1E-2435F19A276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0" marR="0" lvl="1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0" marR="0" lvl="2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0" marR="0" lvl="3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0" marR="0" lvl="4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0" marR="0" lvl="5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0" marR="0" lvl="6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0" marR="0" lvl="7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0" marR="0" lvl="8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4</a:t>
            </a:fld>
            <a:endParaRPr dirty="0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33F496A2-DE25-4448-970A-AB3FEE181D29}"/>
              </a:ext>
            </a:extLst>
          </p:cNvPr>
          <p:cNvSpPr txBox="1">
            <a:spLocks/>
          </p:cNvSpPr>
          <p:nvPr/>
        </p:nvSpPr>
        <p:spPr>
          <a:xfrm>
            <a:off x="1309631" y="1828800"/>
            <a:ext cx="6357261" cy="68400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spcFirstLastPara="1" wrap="square" lIns="432000" tIns="45720" rIns="91440" bIns="4572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600" dirty="0"/>
              <a:t>One of the most important personal finance lessons they will make will be the decision regarding their educa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C2BF217-5BBB-4C84-9A94-6D66A013646E}"/>
              </a:ext>
            </a:extLst>
          </p:cNvPr>
          <p:cNvGrpSpPr/>
          <p:nvPr/>
        </p:nvGrpSpPr>
        <p:grpSpPr>
          <a:xfrm>
            <a:off x="1084580" y="1938112"/>
            <a:ext cx="465376" cy="465376"/>
            <a:chOff x="1084580" y="1977318"/>
            <a:chExt cx="465376" cy="465376"/>
          </a:xfrm>
        </p:grpSpPr>
        <p:sp>
          <p:nvSpPr>
            <p:cNvPr id="14" name="Text Placeholder 2">
              <a:extLst>
                <a:ext uri="{FF2B5EF4-FFF2-40B4-BE49-F238E27FC236}">
                  <a16:creationId xmlns:a16="http://schemas.microsoft.com/office/drawing/2014/main" id="{C209F530-0159-4BA2-AB21-E7ED04334E52}"/>
                </a:ext>
              </a:extLst>
            </p:cNvPr>
            <p:cNvSpPr txBox="1">
              <a:spLocks/>
            </p:cNvSpPr>
            <p:nvPr/>
          </p:nvSpPr>
          <p:spPr>
            <a:xfrm>
              <a:off x="1084580" y="1977318"/>
              <a:ext cx="465376" cy="465376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txBody>
            <a:bodyPr spcFirstLastPara="1" wrap="square" lIns="91440" tIns="45720" rIns="91440" bIns="45720" anchor="ctr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 "/>
                <a:defRPr sz="20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1pPr>
              <a:lvl2pPr marL="914400" marR="0" lvl="1" indent="-342900" algn="l" rtl="0">
                <a:lnSpc>
                  <a:spcPct val="9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8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2pPr>
              <a:lvl3pPr marL="1371600" marR="0" lvl="2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3pPr>
              <a:lvl4pPr marL="1828800" marR="0" lvl="3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4pPr>
              <a:lvl5pPr marL="2286000" marR="0" lvl="4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5pPr>
              <a:lvl6pPr marL="2743200" marR="0" lvl="5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6pPr>
              <a:lvl7pPr marL="3200400" marR="0" lvl="6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7pPr>
              <a:lvl8pPr marL="3657600" marR="0" lvl="7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8pPr>
              <a:lvl9pPr marL="4114800" marR="0" lvl="8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IN" sz="2200" dirty="0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ED6928D0-D8D4-4FC1-8B71-B8B3395CC252}"/>
                </a:ext>
              </a:extLst>
            </p:cNvPr>
            <p:cNvGrpSpPr/>
            <p:nvPr/>
          </p:nvGrpSpPr>
          <p:grpSpPr>
            <a:xfrm>
              <a:off x="1156066" y="2105956"/>
              <a:ext cx="257615" cy="208100"/>
              <a:chOff x="3027420" y="2698875"/>
              <a:chExt cx="257615" cy="208100"/>
            </a:xfrm>
          </p:grpSpPr>
          <p:sp>
            <p:nvSpPr>
              <p:cNvPr id="16" name="Half Frame 15">
                <a:extLst>
                  <a:ext uri="{FF2B5EF4-FFF2-40B4-BE49-F238E27FC236}">
                    <a16:creationId xmlns:a16="http://schemas.microsoft.com/office/drawing/2014/main" id="{911BBB3A-FCC3-41E3-BD06-E589E33C1ABB}"/>
                  </a:ext>
                </a:extLst>
              </p:cNvPr>
              <p:cNvSpPr/>
              <p:nvPr/>
            </p:nvSpPr>
            <p:spPr>
              <a:xfrm rot="8067854">
                <a:off x="3076935" y="2698875"/>
                <a:ext cx="208100" cy="208100"/>
              </a:xfrm>
              <a:prstGeom prst="halfFrame">
                <a:avLst>
                  <a:gd name="adj1" fmla="val 23654"/>
                  <a:gd name="adj2" fmla="val 23553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Half Frame 16">
                <a:extLst>
                  <a:ext uri="{FF2B5EF4-FFF2-40B4-BE49-F238E27FC236}">
                    <a16:creationId xmlns:a16="http://schemas.microsoft.com/office/drawing/2014/main" id="{64B8F79D-F018-4DF2-AACC-EA071C497F16}"/>
                  </a:ext>
                </a:extLst>
              </p:cNvPr>
              <p:cNvSpPr/>
              <p:nvPr/>
            </p:nvSpPr>
            <p:spPr>
              <a:xfrm rot="8067854">
                <a:off x="3027420" y="2727648"/>
                <a:ext cx="150555" cy="150555"/>
              </a:xfrm>
              <a:prstGeom prst="halfFrame">
                <a:avLst>
                  <a:gd name="adj1" fmla="val 23654"/>
                  <a:gd name="adj2" fmla="val 23553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BA5C5A6-B136-4C36-9BF7-AB96BD7BD7B6}"/>
              </a:ext>
            </a:extLst>
          </p:cNvPr>
          <p:cNvSpPr txBox="1">
            <a:spLocks/>
          </p:cNvSpPr>
          <p:nvPr/>
        </p:nvSpPr>
        <p:spPr>
          <a:xfrm>
            <a:off x="1309631" y="2634119"/>
            <a:ext cx="6357261" cy="68400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spcFirstLastPara="1" wrap="square" lIns="432000" tIns="45720" rIns="91440" bIns="4572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600" dirty="0"/>
              <a:t>The price of college has been rising, but so have the benefit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E95B2CF-ABD1-4070-8B02-0E096D57EDB5}"/>
              </a:ext>
            </a:extLst>
          </p:cNvPr>
          <p:cNvSpPr txBox="1">
            <a:spLocks/>
          </p:cNvSpPr>
          <p:nvPr/>
        </p:nvSpPr>
        <p:spPr>
          <a:xfrm>
            <a:off x="1309631" y="3439438"/>
            <a:ext cx="6357261" cy="79200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spcFirstLastPara="1" wrap="square" lIns="432000" tIns="45720" rIns="91440" bIns="4572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600" dirty="0"/>
              <a:t>Students should consider the differences in costs of various types of college and universities, and the differences in income levels associated with different major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F586E51-57DF-490B-8758-1DD688C2C11A}"/>
              </a:ext>
            </a:extLst>
          </p:cNvPr>
          <p:cNvSpPr txBox="1">
            <a:spLocks/>
          </p:cNvSpPr>
          <p:nvPr/>
        </p:nvSpPr>
        <p:spPr>
          <a:xfrm>
            <a:off x="1309631" y="4352758"/>
            <a:ext cx="6357261" cy="68400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spcFirstLastPara="1" wrap="square" lIns="432000" tIns="45720" rIns="91440" bIns="4572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600" dirty="0"/>
              <a:t>One way to reduce the price of college is by applying for financial aid using the FAFSA form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B929439-CB77-4DBE-A840-39D32F40B5A6}"/>
              </a:ext>
            </a:extLst>
          </p:cNvPr>
          <p:cNvSpPr txBox="1">
            <a:spLocks/>
          </p:cNvSpPr>
          <p:nvPr/>
        </p:nvSpPr>
        <p:spPr>
          <a:xfrm>
            <a:off x="1309631" y="5158078"/>
            <a:ext cx="6357261" cy="684000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spcFirstLastPara="1" wrap="square" lIns="432000" tIns="45720" rIns="91440" bIns="4572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600" dirty="0"/>
              <a:t>Thinking about these decisions now can have a huge payoff in the futur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FECFE13-E53C-4EEC-989C-4DBA2BDAF9A8}"/>
              </a:ext>
            </a:extLst>
          </p:cNvPr>
          <p:cNvGrpSpPr/>
          <p:nvPr/>
        </p:nvGrpSpPr>
        <p:grpSpPr>
          <a:xfrm>
            <a:off x="1084580" y="2743431"/>
            <a:ext cx="465376" cy="465376"/>
            <a:chOff x="1084580" y="1977318"/>
            <a:chExt cx="465376" cy="465376"/>
          </a:xfrm>
        </p:grpSpPr>
        <p:sp>
          <p:nvSpPr>
            <p:cNvPr id="23" name="Text Placeholder 2">
              <a:extLst>
                <a:ext uri="{FF2B5EF4-FFF2-40B4-BE49-F238E27FC236}">
                  <a16:creationId xmlns:a16="http://schemas.microsoft.com/office/drawing/2014/main" id="{172A17FB-5DCF-4F07-A630-7523FF3D5C02}"/>
                </a:ext>
              </a:extLst>
            </p:cNvPr>
            <p:cNvSpPr txBox="1">
              <a:spLocks/>
            </p:cNvSpPr>
            <p:nvPr/>
          </p:nvSpPr>
          <p:spPr>
            <a:xfrm>
              <a:off x="1084580" y="1977318"/>
              <a:ext cx="465376" cy="465376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txBody>
            <a:bodyPr spcFirstLastPara="1" wrap="square" lIns="91440" tIns="45720" rIns="91440" bIns="45720" anchor="ctr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 "/>
                <a:defRPr sz="20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1pPr>
              <a:lvl2pPr marL="914400" marR="0" lvl="1" indent="-342900" algn="l" rtl="0">
                <a:lnSpc>
                  <a:spcPct val="9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8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2pPr>
              <a:lvl3pPr marL="1371600" marR="0" lvl="2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3pPr>
              <a:lvl4pPr marL="1828800" marR="0" lvl="3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4pPr>
              <a:lvl5pPr marL="2286000" marR="0" lvl="4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5pPr>
              <a:lvl6pPr marL="2743200" marR="0" lvl="5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6pPr>
              <a:lvl7pPr marL="3200400" marR="0" lvl="6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7pPr>
              <a:lvl8pPr marL="3657600" marR="0" lvl="7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8pPr>
              <a:lvl9pPr marL="4114800" marR="0" lvl="8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IN" sz="2200" dirty="0"/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B21A5119-4E97-48C0-8110-304A58134FF5}"/>
                </a:ext>
              </a:extLst>
            </p:cNvPr>
            <p:cNvGrpSpPr/>
            <p:nvPr/>
          </p:nvGrpSpPr>
          <p:grpSpPr>
            <a:xfrm>
              <a:off x="1156066" y="2105956"/>
              <a:ext cx="257615" cy="208100"/>
              <a:chOff x="3027420" y="2698875"/>
              <a:chExt cx="257615" cy="208100"/>
            </a:xfrm>
          </p:grpSpPr>
          <p:sp>
            <p:nvSpPr>
              <p:cNvPr id="25" name="Half Frame 24">
                <a:extLst>
                  <a:ext uri="{FF2B5EF4-FFF2-40B4-BE49-F238E27FC236}">
                    <a16:creationId xmlns:a16="http://schemas.microsoft.com/office/drawing/2014/main" id="{D9B746B4-8713-462B-BB52-595E79809E86}"/>
                  </a:ext>
                </a:extLst>
              </p:cNvPr>
              <p:cNvSpPr/>
              <p:nvPr/>
            </p:nvSpPr>
            <p:spPr>
              <a:xfrm rot="8067854">
                <a:off x="3076935" y="2698875"/>
                <a:ext cx="208100" cy="208100"/>
              </a:xfrm>
              <a:prstGeom prst="halfFrame">
                <a:avLst>
                  <a:gd name="adj1" fmla="val 23654"/>
                  <a:gd name="adj2" fmla="val 23553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Half Frame 25">
                <a:extLst>
                  <a:ext uri="{FF2B5EF4-FFF2-40B4-BE49-F238E27FC236}">
                    <a16:creationId xmlns:a16="http://schemas.microsoft.com/office/drawing/2014/main" id="{A2189B53-1455-4E46-AD21-4D2F808211E6}"/>
                  </a:ext>
                </a:extLst>
              </p:cNvPr>
              <p:cNvSpPr/>
              <p:nvPr/>
            </p:nvSpPr>
            <p:spPr>
              <a:xfrm rot="8067854">
                <a:off x="3027420" y="2727648"/>
                <a:ext cx="150555" cy="150555"/>
              </a:xfrm>
              <a:prstGeom prst="halfFrame">
                <a:avLst>
                  <a:gd name="adj1" fmla="val 23654"/>
                  <a:gd name="adj2" fmla="val 23553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9D9738E8-1C83-4FB0-84C8-F00F79E551A2}"/>
              </a:ext>
            </a:extLst>
          </p:cNvPr>
          <p:cNvGrpSpPr/>
          <p:nvPr/>
        </p:nvGrpSpPr>
        <p:grpSpPr>
          <a:xfrm>
            <a:off x="1084580" y="3602750"/>
            <a:ext cx="465376" cy="465376"/>
            <a:chOff x="1084580" y="1977318"/>
            <a:chExt cx="465376" cy="465376"/>
          </a:xfrm>
        </p:grpSpPr>
        <p:sp>
          <p:nvSpPr>
            <p:cNvPr id="28" name="Text Placeholder 2">
              <a:extLst>
                <a:ext uri="{FF2B5EF4-FFF2-40B4-BE49-F238E27FC236}">
                  <a16:creationId xmlns:a16="http://schemas.microsoft.com/office/drawing/2014/main" id="{92BED38A-1E70-474C-94F3-A17FCAA0ABF7}"/>
                </a:ext>
              </a:extLst>
            </p:cNvPr>
            <p:cNvSpPr txBox="1">
              <a:spLocks/>
            </p:cNvSpPr>
            <p:nvPr/>
          </p:nvSpPr>
          <p:spPr>
            <a:xfrm>
              <a:off x="1084580" y="1977318"/>
              <a:ext cx="465376" cy="465376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txBody>
            <a:bodyPr spcFirstLastPara="1" wrap="square" lIns="91440" tIns="45720" rIns="91440" bIns="45720" anchor="ctr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 "/>
                <a:defRPr sz="20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1pPr>
              <a:lvl2pPr marL="914400" marR="0" lvl="1" indent="-342900" algn="l" rtl="0">
                <a:lnSpc>
                  <a:spcPct val="9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8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2pPr>
              <a:lvl3pPr marL="1371600" marR="0" lvl="2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3pPr>
              <a:lvl4pPr marL="1828800" marR="0" lvl="3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4pPr>
              <a:lvl5pPr marL="2286000" marR="0" lvl="4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5pPr>
              <a:lvl6pPr marL="2743200" marR="0" lvl="5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6pPr>
              <a:lvl7pPr marL="3200400" marR="0" lvl="6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7pPr>
              <a:lvl8pPr marL="3657600" marR="0" lvl="7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8pPr>
              <a:lvl9pPr marL="4114800" marR="0" lvl="8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IN" sz="2200" dirty="0"/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8A79E30-3B90-4E39-B3FA-41DCE32244E1}"/>
                </a:ext>
              </a:extLst>
            </p:cNvPr>
            <p:cNvGrpSpPr/>
            <p:nvPr/>
          </p:nvGrpSpPr>
          <p:grpSpPr>
            <a:xfrm>
              <a:off x="1156066" y="2105956"/>
              <a:ext cx="257615" cy="208100"/>
              <a:chOff x="3027420" y="2698875"/>
              <a:chExt cx="257615" cy="208100"/>
            </a:xfrm>
          </p:grpSpPr>
          <p:sp>
            <p:nvSpPr>
              <p:cNvPr id="30" name="Half Frame 29">
                <a:extLst>
                  <a:ext uri="{FF2B5EF4-FFF2-40B4-BE49-F238E27FC236}">
                    <a16:creationId xmlns:a16="http://schemas.microsoft.com/office/drawing/2014/main" id="{8A53C470-C524-49FD-A214-44424E9EF78D}"/>
                  </a:ext>
                </a:extLst>
              </p:cNvPr>
              <p:cNvSpPr/>
              <p:nvPr/>
            </p:nvSpPr>
            <p:spPr>
              <a:xfrm rot="8067854">
                <a:off x="3076935" y="2698875"/>
                <a:ext cx="208100" cy="208100"/>
              </a:xfrm>
              <a:prstGeom prst="halfFrame">
                <a:avLst>
                  <a:gd name="adj1" fmla="val 23654"/>
                  <a:gd name="adj2" fmla="val 23553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Half Frame 30">
                <a:extLst>
                  <a:ext uri="{FF2B5EF4-FFF2-40B4-BE49-F238E27FC236}">
                    <a16:creationId xmlns:a16="http://schemas.microsoft.com/office/drawing/2014/main" id="{86EB9D59-779C-4261-B243-7CB2D43FF1ED}"/>
                  </a:ext>
                </a:extLst>
              </p:cNvPr>
              <p:cNvSpPr/>
              <p:nvPr/>
            </p:nvSpPr>
            <p:spPr>
              <a:xfrm rot="8067854">
                <a:off x="3027420" y="2727648"/>
                <a:ext cx="150555" cy="150555"/>
              </a:xfrm>
              <a:prstGeom prst="halfFrame">
                <a:avLst>
                  <a:gd name="adj1" fmla="val 23654"/>
                  <a:gd name="adj2" fmla="val 23553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F8E5AB4-C81E-4A12-882C-88BAD01D4895}"/>
              </a:ext>
            </a:extLst>
          </p:cNvPr>
          <p:cNvGrpSpPr/>
          <p:nvPr/>
        </p:nvGrpSpPr>
        <p:grpSpPr>
          <a:xfrm>
            <a:off x="1084580" y="4462070"/>
            <a:ext cx="465376" cy="465376"/>
            <a:chOff x="1084580" y="1977318"/>
            <a:chExt cx="465376" cy="465376"/>
          </a:xfrm>
        </p:grpSpPr>
        <p:sp>
          <p:nvSpPr>
            <p:cNvPr id="33" name="Text Placeholder 2">
              <a:extLst>
                <a:ext uri="{FF2B5EF4-FFF2-40B4-BE49-F238E27FC236}">
                  <a16:creationId xmlns:a16="http://schemas.microsoft.com/office/drawing/2014/main" id="{67CB23EF-802E-4A6E-9F2B-90FBB5A36196}"/>
                </a:ext>
              </a:extLst>
            </p:cNvPr>
            <p:cNvSpPr txBox="1">
              <a:spLocks/>
            </p:cNvSpPr>
            <p:nvPr/>
          </p:nvSpPr>
          <p:spPr>
            <a:xfrm>
              <a:off x="1084580" y="1977318"/>
              <a:ext cx="465376" cy="465376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txBody>
            <a:bodyPr spcFirstLastPara="1" wrap="square" lIns="91440" tIns="45720" rIns="91440" bIns="45720" anchor="ctr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 "/>
                <a:defRPr sz="20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1pPr>
              <a:lvl2pPr marL="914400" marR="0" lvl="1" indent="-342900" algn="l" rtl="0">
                <a:lnSpc>
                  <a:spcPct val="9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8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2pPr>
              <a:lvl3pPr marL="1371600" marR="0" lvl="2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3pPr>
              <a:lvl4pPr marL="1828800" marR="0" lvl="3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4pPr>
              <a:lvl5pPr marL="2286000" marR="0" lvl="4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5pPr>
              <a:lvl6pPr marL="2743200" marR="0" lvl="5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6pPr>
              <a:lvl7pPr marL="3200400" marR="0" lvl="6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7pPr>
              <a:lvl8pPr marL="3657600" marR="0" lvl="7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8pPr>
              <a:lvl9pPr marL="4114800" marR="0" lvl="8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IN" sz="2200" dirty="0"/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F643E3D4-B20E-4783-BFD7-93D4C44782E1}"/>
                </a:ext>
              </a:extLst>
            </p:cNvPr>
            <p:cNvGrpSpPr/>
            <p:nvPr/>
          </p:nvGrpSpPr>
          <p:grpSpPr>
            <a:xfrm>
              <a:off x="1156066" y="2105956"/>
              <a:ext cx="257615" cy="208100"/>
              <a:chOff x="3027420" y="2698875"/>
              <a:chExt cx="257615" cy="208100"/>
            </a:xfrm>
          </p:grpSpPr>
          <p:sp>
            <p:nvSpPr>
              <p:cNvPr id="35" name="Half Frame 34">
                <a:extLst>
                  <a:ext uri="{FF2B5EF4-FFF2-40B4-BE49-F238E27FC236}">
                    <a16:creationId xmlns:a16="http://schemas.microsoft.com/office/drawing/2014/main" id="{8B11AA20-6714-4647-968C-C2592AD55E81}"/>
                  </a:ext>
                </a:extLst>
              </p:cNvPr>
              <p:cNvSpPr/>
              <p:nvPr/>
            </p:nvSpPr>
            <p:spPr>
              <a:xfrm rot="8067854">
                <a:off x="3076935" y="2698875"/>
                <a:ext cx="208100" cy="208100"/>
              </a:xfrm>
              <a:prstGeom prst="halfFrame">
                <a:avLst>
                  <a:gd name="adj1" fmla="val 23654"/>
                  <a:gd name="adj2" fmla="val 23553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Half Frame 35">
                <a:extLst>
                  <a:ext uri="{FF2B5EF4-FFF2-40B4-BE49-F238E27FC236}">
                    <a16:creationId xmlns:a16="http://schemas.microsoft.com/office/drawing/2014/main" id="{AD17B724-44A1-4F9B-A10D-9FB85FF2BFC0}"/>
                  </a:ext>
                </a:extLst>
              </p:cNvPr>
              <p:cNvSpPr/>
              <p:nvPr/>
            </p:nvSpPr>
            <p:spPr>
              <a:xfrm rot="8067854">
                <a:off x="3027420" y="2727648"/>
                <a:ext cx="150555" cy="150555"/>
              </a:xfrm>
              <a:prstGeom prst="halfFrame">
                <a:avLst>
                  <a:gd name="adj1" fmla="val 23654"/>
                  <a:gd name="adj2" fmla="val 23553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69419EF-2B4D-484A-AEF8-DF0860C8E72C}"/>
              </a:ext>
            </a:extLst>
          </p:cNvPr>
          <p:cNvGrpSpPr/>
          <p:nvPr/>
        </p:nvGrpSpPr>
        <p:grpSpPr>
          <a:xfrm>
            <a:off x="1084580" y="5267390"/>
            <a:ext cx="465376" cy="465376"/>
            <a:chOff x="1084580" y="1977318"/>
            <a:chExt cx="465376" cy="465376"/>
          </a:xfrm>
        </p:grpSpPr>
        <p:sp>
          <p:nvSpPr>
            <p:cNvPr id="38" name="Text Placeholder 2">
              <a:extLst>
                <a:ext uri="{FF2B5EF4-FFF2-40B4-BE49-F238E27FC236}">
                  <a16:creationId xmlns:a16="http://schemas.microsoft.com/office/drawing/2014/main" id="{6C2EA7D1-F5B1-46E6-8911-4C6A694F9003}"/>
                </a:ext>
              </a:extLst>
            </p:cNvPr>
            <p:cNvSpPr txBox="1">
              <a:spLocks/>
            </p:cNvSpPr>
            <p:nvPr/>
          </p:nvSpPr>
          <p:spPr>
            <a:xfrm>
              <a:off x="1084580" y="1977318"/>
              <a:ext cx="465376" cy="465376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txBody>
            <a:bodyPr spcFirstLastPara="1" wrap="square" lIns="91440" tIns="45720" rIns="91440" bIns="45720" anchor="ctr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 "/>
                <a:defRPr sz="20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1pPr>
              <a:lvl2pPr marL="914400" marR="0" lvl="1" indent="-342900" algn="l" rtl="0">
                <a:lnSpc>
                  <a:spcPct val="9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8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2pPr>
              <a:lvl3pPr marL="1371600" marR="0" lvl="2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3pPr>
              <a:lvl4pPr marL="1828800" marR="0" lvl="3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4pPr>
              <a:lvl5pPr marL="2286000" marR="0" lvl="4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5pPr>
              <a:lvl6pPr marL="2743200" marR="0" lvl="5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6pPr>
              <a:lvl7pPr marL="3200400" marR="0" lvl="6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7pPr>
              <a:lvl8pPr marL="3657600" marR="0" lvl="7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8pPr>
              <a:lvl9pPr marL="4114800" marR="0" lvl="8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IN" sz="2200" dirty="0"/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283D8FB6-7F66-4F16-961A-97113E5FB39F}"/>
                </a:ext>
              </a:extLst>
            </p:cNvPr>
            <p:cNvGrpSpPr/>
            <p:nvPr/>
          </p:nvGrpSpPr>
          <p:grpSpPr>
            <a:xfrm>
              <a:off x="1156066" y="2105956"/>
              <a:ext cx="257615" cy="208100"/>
              <a:chOff x="3027420" y="2698875"/>
              <a:chExt cx="257615" cy="208100"/>
            </a:xfrm>
          </p:grpSpPr>
          <p:sp>
            <p:nvSpPr>
              <p:cNvPr id="40" name="Half Frame 39">
                <a:extLst>
                  <a:ext uri="{FF2B5EF4-FFF2-40B4-BE49-F238E27FC236}">
                    <a16:creationId xmlns:a16="http://schemas.microsoft.com/office/drawing/2014/main" id="{80DFFB66-68BE-461D-AA6E-0EA878DCD3DE}"/>
                  </a:ext>
                </a:extLst>
              </p:cNvPr>
              <p:cNvSpPr/>
              <p:nvPr/>
            </p:nvSpPr>
            <p:spPr>
              <a:xfrm rot="8067854">
                <a:off x="3076935" y="2698875"/>
                <a:ext cx="208100" cy="208100"/>
              </a:xfrm>
              <a:prstGeom prst="halfFrame">
                <a:avLst>
                  <a:gd name="adj1" fmla="val 23654"/>
                  <a:gd name="adj2" fmla="val 23553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Half Frame 40">
                <a:extLst>
                  <a:ext uri="{FF2B5EF4-FFF2-40B4-BE49-F238E27FC236}">
                    <a16:creationId xmlns:a16="http://schemas.microsoft.com/office/drawing/2014/main" id="{2CF063EF-F2E6-48B3-A3AE-B7AF62E8FC36}"/>
                  </a:ext>
                </a:extLst>
              </p:cNvPr>
              <p:cNvSpPr/>
              <p:nvPr/>
            </p:nvSpPr>
            <p:spPr>
              <a:xfrm rot="8067854">
                <a:off x="3027420" y="2727648"/>
                <a:ext cx="150555" cy="150555"/>
              </a:xfrm>
              <a:prstGeom prst="halfFrame">
                <a:avLst>
                  <a:gd name="adj1" fmla="val 23654"/>
                  <a:gd name="adj2" fmla="val 23553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2F5CFD48-F4BF-4F0A-B855-DA0360C41CEC}"/>
              </a:ext>
            </a:extLst>
          </p:cNvPr>
          <p:cNvSpPr txBox="1">
            <a:spLocks/>
          </p:cNvSpPr>
          <p:nvPr/>
        </p:nvSpPr>
        <p:spPr>
          <a:xfrm>
            <a:off x="7901354" y="1844350"/>
            <a:ext cx="3254326" cy="3997728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spcFirstLastPara="1" wrap="square" lIns="91440" tIns="45720" rIns="91440" bIns="4572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IN" dirty="0"/>
              <a:t>Which h jobs are most in demand?</a:t>
            </a:r>
          </a:p>
        </p:txBody>
      </p:sp>
    </p:spTree>
    <p:extLst>
      <p:ext uri="{BB962C8B-B14F-4D97-AF65-F5344CB8AC3E}">
        <p14:creationId xmlns:p14="http://schemas.microsoft.com/office/powerpoint/2010/main" val="39319378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F71748D-9BAC-4CD3-B8EF-1C01B0C59E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1796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9"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F71748D-9BAC-4CD3-B8EF-1C01B0C59E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3DB473B-449D-40A2-B039-9519995270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IN" sz="4800" dirty="0">
              <a:latin typeface="Libre Franklin Thin" panose="020B0604020202020204" charset="0"/>
              <a:sym typeface="Libre Franklin Thin" panose="020B060402020202020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F59EC7-7F75-4425-84B9-5F81AA26E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>
            <a:noAutofit/>
          </a:bodyPr>
          <a:lstStyle/>
          <a:p>
            <a:r>
              <a:rPr lang="en-IN" dirty="0"/>
              <a:t>Good resources</a:t>
            </a:r>
          </a:p>
        </p:txBody>
      </p:sp>
      <p:sp>
        <p:nvSpPr>
          <p:cNvPr id="4" name="Google Shape;14;p11">
            <a:extLst>
              <a:ext uri="{FF2B5EF4-FFF2-40B4-BE49-F238E27FC236}">
                <a16:creationId xmlns:a16="http://schemas.microsoft.com/office/drawing/2014/main" id="{523CACD1-B6E9-484D-A93B-291133AC6C74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5" name="Google Shape;16;p11">
            <a:extLst>
              <a:ext uri="{FF2B5EF4-FFF2-40B4-BE49-F238E27FC236}">
                <a16:creationId xmlns:a16="http://schemas.microsoft.com/office/drawing/2014/main" id="{9784C0D3-4933-4B52-8B1E-2435F19A276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0" marR="0" lvl="1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0" marR="0" lvl="2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0" marR="0" lvl="3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0" marR="0" lvl="4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0" marR="0" lvl="5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0" marR="0" lvl="6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0" marR="0" lvl="7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0" marR="0" lvl="8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5</a:t>
            </a:fld>
            <a:endParaRPr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7E8B87C-4A1C-418A-957E-C062014580A9}"/>
              </a:ext>
            </a:extLst>
          </p:cNvPr>
          <p:cNvGrpSpPr/>
          <p:nvPr/>
        </p:nvGrpSpPr>
        <p:grpSpPr>
          <a:xfrm>
            <a:off x="1397766" y="1828664"/>
            <a:ext cx="9396469" cy="4060970"/>
            <a:chOff x="1309631" y="1828664"/>
            <a:chExt cx="9396469" cy="4060970"/>
          </a:xfrm>
        </p:grpSpPr>
        <p:sp>
          <p:nvSpPr>
            <p:cNvPr id="13" name="Text Placeholder 2">
              <a:extLst>
                <a:ext uri="{FF2B5EF4-FFF2-40B4-BE49-F238E27FC236}">
                  <a16:creationId xmlns:a16="http://schemas.microsoft.com/office/drawing/2014/main" id="{33F496A2-DE25-4448-970A-AB3FEE181D29}"/>
                </a:ext>
              </a:extLst>
            </p:cNvPr>
            <p:cNvSpPr txBox="1">
              <a:spLocks/>
            </p:cNvSpPr>
            <p:nvPr/>
          </p:nvSpPr>
          <p:spPr>
            <a:xfrm>
              <a:off x="1309631" y="1828664"/>
              <a:ext cx="9396469" cy="1323439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txBody>
            <a:bodyPr spcFirstLastPara="1" wrap="square" lIns="91440" tIns="45720" rIns="91440" bIns="45720" anchor="ctr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 "/>
                <a:defRPr sz="20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1pPr>
              <a:lvl2pPr marL="914400" marR="0" lvl="1" indent="-342900" algn="l" rtl="0">
                <a:lnSpc>
                  <a:spcPct val="9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8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2pPr>
              <a:lvl3pPr marL="1371600" marR="0" lvl="2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3pPr>
              <a:lvl4pPr marL="1828800" marR="0" lvl="3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4pPr>
              <a:lvl5pPr marL="2286000" marR="0" lvl="4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5pPr>
              <a:lvl6pPr marL="2743200" marR="0" lvl="5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6pPr>
              <a:lvl7pPr marL="3200400" marR="0" lvl="6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7pPr>
              <a:lvl8pPr marL="3657600" marR="0" lvl="7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8pPr>
              <a:lvl9pPr marL="4114800" marR="0" lvl="8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IN" b="1" dirty="0"/>
                <a:t>Federal reserve bank: </a:t>
              </a:r>
              <a:r>
                <a:rPr lang="en-IN" dirty="0"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www.federalreserveeducation.org</a:t>
              </a:r>
              <a:r>
                <a:rPr lang="en-IN" dirty="0"/>
                <a:t>  </a:t>
              </a:r>
            </a:p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IN" dirty="0"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www.stlouisfed.org/education/page-one-economics-classroom-edition/the-rising-cost-of-college-tuition-financial-aid-and-price-discrimination</a:t>
              </a:r>
              <a:r>
                <a:rPr lang="en-IN" dirty="0"/>
                <a:t> </a:t>
              </a:r>
            </a:p>
          </p:txBody>
        </p:sp>
        <p:sp>
          <p:nvSpPr>
            <p:cNvPr id="18" name="Text Placeholder 2">
              <a:extLst>
                <a:ext uri="{FF2B5EF4-FFF2-40B4-BE49-F238E27FC236}">
                  <a16:creationId xmlns:a16="http://schemas.microsoft.com/office/drawing/2014/main" id="{5BA5C5A6-B136-4C36-9BF7-AB96BD7BD7B6}"/>
                </a:ext>
              </a:extLst>
            </p:cNvPr>
            <p:cNvSpPr txBox="1">
              <a:spLocks/>
            </p:cNvSpPr>
            <p:nvPr/>
          </p:nvSpPr>
          <p:spPr>
            <a:xfrm>
              <a:off x="1309631" y="3302200"/>
              <a:ext cx="9396469" cy="762413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txBody>
            <a:bodyPr spcFirstLastPara="1" wrap="square" lIns="91440" tIns="45720" rIns="91440" bIns="4572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 "/>
                <a:defRPr sz="20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1pPr>
              <a:lvl2pPr marL="914400" marR="0" lvl="1" indent="-342900" algn="l" rtl="0">
                <a:lnSpc>
                  <a:spcPct val="9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8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2pPr>
              <a:lvl3pPr marL="1371600" marR="0" lvl="2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3pPr>
              <a:lvl4pPr marL="1828800" marR="0" lvl="3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4pPr>
              <a:lvl5pPr marL="2286000" marR="0" lvl="4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5pPr>
              <a:lvl6pPr marL="2743200" marR="0" lvl="5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6pPr>
              <a:lvl7pPr marL="3200400" marR="0" lvl="6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7pPr>
              <a:lvl8pPr marL="3657600" marR="0" lvl="7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8pPr>
              <a:lvl9pPr marL="4114800" marR="0" lvl="8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IN" sz="1800" b="1" dirty="0"/>
                <a:t>Linkedin’s Economics graph </a:t>
              </a:r>
              <a:r>
                <a:rPr lang="en-IN" sz="1800" dirty="0">
                  <a:hlinkClick r:id="rId9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economicgraph.linkedin.com</a:t>
              </a:r>
              <a:r>
                <a:rPr lang="en-IN" sz="1800" dirty="0"/>
                <a:t> </a:t>
              </a:r>
            </a:p>
          </p:txBody>
        </p:sp>
        <p:sp>
          <p:nvSpPr>
            <p:cNvPr id="42" name="Text Placeholder 2">
              <a:extLst>
                <a:ext uri="{FF2B5EF4-FFF2-40B4-BE49-F238E27FC236}">
                  <a16:creationId xmlns:a16="http://schemas.microsoft.com/office/drawing/2014/main" id="{589DEB3E-E9AB-42CD-A19B-AF77459B8E3C}"/>
                </a:ext>
              </a:extLst>
            </p:cNvPr>
            <p:cNvSpPr txBox="1">
              <a:spLocks/>
            </p:cNvSpPr>
            <p:nvPr/>
          </p:nvSpPr>
          <p:spPr>
            <a:xfrm>
              <a:off x="1309631" y="4214710"/>
              <a:ext cx="9396469" cy="762413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txBody>
            <a:bodyPr spcFirstLastPara="1" wrap="square" lIns="91440" tIns="45720" rIns="91440" bIns="4572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 "/>
                <a:defRPr sz="20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1pPr>
              <a:lvl2pPr marL="914400" marR="0" lvl="1" indent="-342900" algn="l" rtl="0">
                <a:lnSpc>
                  <a:spcPct val="9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8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2pPr>
              <a:lvl3pPr marL="1371600" marR="0" lvl="2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3pPr>
              <a:lvl4pPr marL="1828800" marR="0" lvl="3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4pPr>
              <a:lvl5pPr marL="2286000" marR="0" lvl="4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5pPr>
              <a:lvl6pPr marL="2743200" marR="0" lvl="5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6pPr>
              <a:lvl7pPr marL="3200400" marR="0" lvl="6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7pPr>
              <a:lvl8pPr marL="3657600" marR="0" lvl="7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8pPr>
              <a:lvl9pPr marL="4114800" marR="0" lvl="8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IN" sz="1800" b="1" dirty="0"/>
                <a:t>Economist: </a:t>
              </a:r>
              <a:r>
                <a:rPr lang="en-IN" sz="1800" dirty="0">
                  <a:hlinkClick r:id="rId10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economistfoundation.org/resources/</a:t>
              </a:r>
              <a:r>
                <a:rPr lang="en-IN" sz="1800" dirty="0"/>
                <a:t> </a:t>
              </a:r>
            </a:p>
          </p:txBody>
        </p:sp>
        <p:sp>
          <p:nvSpPr>
            <p:cNvPr id="43" name="Text Placeholder 2">
              <a:extLst>
                <a:ext uri="{FF2B5EF4-FFF2-40B4-BE49-F238E27FC236}">
                  <a16:creationId xmlns:a16="http://schemas.microsoft.com/office/drawing/2014/main" id="{77C8A52D-9B6A-409C-B93B-5051F20107DF}"/>
                </a:ext>
              </a:extLst>
            </p:cNvPr>
            <p:cNvSpPr txBox="1">
              <a:spLocks/>
            </p:cNvSpPr>
            <p:nvPr/>
          </p:nvSpPr>
          <p:spPr>
            <a:xfrm>
              <a:off x="1309631" y="5127221"/>
              <a:ext cx="9396469" cy="762413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txBody>
            <a:bodyPr spcFirstLastPara="1" wrap="square" lIns="91440" tIns="45720" rIns="91440" bIns="4572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 "/>
                <a:defRPr sz="20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1pPr>
              <a:lvl2pPr marL="914400" marR="0" lvl="1" indent="-342900" algn="l" rtl="0">
                <a:lnSpc>
                  <a:spcPct val="9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8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2pPr>
              <a:lvl3pPr marL="1371600" marR="0" lvl="2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3pPr>
              <a:lvl4pPr marL="1828800" marR="0" lvl="3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4pPr>
              <a:lvl5pPr marL="2286000" marR="0" lvl="4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5pPr>
              <a:lvl6pPr marL="2743200" marR="0" lvl="5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6pPr>
              <a:lvl7pPr marL="3200400" marR="0" lvl="6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7pPr>
              <a:lvl8pPr marL="3657600" marR="0" lvl="7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8pPr>
              <a:lvl9pPr marL="4114800" marR="0" lvl="8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IN" sz="1800" b="1" dirty="0"/>
                <a:t>Burning glass: </a:t>
              </a:r>
              <a:r>
                <a:rPr lang="en-IN" sz="1800" dirty="0">
                  <a:hlinkClick r:id="rId11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ttps://www.burning-glass.com/hechinger-report-pressure-mounts-universities-anticipate-demand-jobs/</a:t>
              </a:r>
              <a:r>
                <a:rPr lang="en-IN" sz="1800" dirty="0"/>
                <a:t>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411049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F71748D-9BAC-4CD3-B8EF-1C01B0C59E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4232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3"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F71748D-9BAC-4CD3-B8EF-1C01B0C59E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3DB473B-449D-40A2-B039-9519995270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IN" sz="4800" dirty="0">
              <a:latin typeface="Libre Franklin Thin" panose="020B0604020202020204" charset="0"/>
              <a:sym typeface="Libre Franklin Thin" panose="020B060402020202020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F59EC7-7F75-4425-84B9-5F81AA26E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>
            <a:noAutofit/>
          </a:bodyPr>
          <a:lstStyle/>
          <a:p>
            <a:r>
              <a:rPr lang="en-IN" dirty="0"/>
              <a:t>Any questions?</a:t>
            </a:r>
          </a:p>
        </p:txBody>
      </p:sp>
      <p:sp>
        <p:nvSpPr>
          <p:cNvPr id="4" name="Google Shape;14;p11">
            <a:extLst>
              <a:ext uri="{FF2B5EF4-FFF2-40B4-BE49-F238E27FC236}">
                <a16:creationId xmlns:a16="http://schemas.microsoft.com/office/drawing/2014/main" id="{523CACD1-B6E9-484D-A93B-291133AC6C74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5" name="Google Shape;16;p11">
            <a:extLst>
              <a:ext uri="{FF2B5EF4-FFF2-40B4-BE49-F238E27FC236}">
                <a16:creationId xmlns:a16="http://schemas.microsoft.com/office/drawing/2014/main" id="{9784C0D3-4933-4B52-8B1E-2435F19A276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0" marR="0" lvl="1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0" marR="0" lvl="2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0" marR="0" lvl="3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0" marR="0" lvl="4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0" marR="0" lvl="5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0" marR="0" lvl="6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0" marR="0" lvl="7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0" marR="0" lvl="8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6</a:t>
            </a:fld>
            <a:endParaRPr dirty="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77C8A52D-9B6A-409C-B93B-5051F20107DF}"/>
              </a:ext>
            </a:extLst>
          </p:cNvPr>
          <p:cNvSpPr txBox="1">
            <a:spLocks/>
          </p:cNvSpPr>
          <p:nvPr/>
        </p:nvSpPr>
        <p:spPr>
          <a:xfrm>
            <a:off x="3965575" y="2978086"/>
            <a:ext cx="4260850" cy="203841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spcFirstLastPara="1" wrap="square" lIns="756000" tIns="45720" rIns="91440" bIns="4572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None/>
            </a:pPr>
            <a:r>
              <a:rPr lang="en-IN" b="1" dirty="0"/>
              <a:t>Christy Johnson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2000"/>
              </a:spcAft>
              <a:buNone/>
            </a:pPr>
            <a:r>
              <a:rPr lang="en-IN" b="1" dirty="0"/>
              <a:t>Email: </a:t>
            </a:r>
            <a:r>
              <a:rPr lang="en-IN" b="1" dirty="0"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hristye@uw.edu</a:t>
            </a:r>
            <a:r>
              <a:rPr lang="en-IN" b="1" dirty="0"/>
              <a:t>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b="1" dirty="0"/>
              <a:t>Phone: 360.739.3465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D5A76B7-A92A-4930-BC66-B86D6F3512B6}"/>
              </a:ext>
            </a:extLst>
          </p:cNvPr>
          <p:cNvSpPr txBox="1">
            <a:spLocks/>
          </p:cNvSpPr>
          <p:nvPr/>
        </p:nvSpPr>
        <p:spPr>
          <a:xfrm>
            <a:off x="1097280" y="1833209"/>
            <a:ext cx="10058400" cy="707886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spcFirstLastPara="1" wrap="square" lIns="91440" tIns="45720" rIns="91440" bIns="4572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IN" b="1" dirty="0">
                <a:solidFill>
                  <a:schemeClr val="bg1"/>
                </a:solidFill>
              </a:rPr>
              <a:t>And here at FEPPP, thank you for serving students each and every day. Our learners, families and communities depend on you</a:t>
            </a:r>
          </a:p>
        </p:txBody>
      </p:sp>
      <p:sp>
        <p:nvSpPr>
          <p:cNvPr id="20" name="Freeform 41">
            <a:extLst>
              <a:ext uri="{FF2B5EF4-FFF2-40B4-BE49-F238E27FC236}">
                <a16:creationId xmlns:a16="http://schemas.microsoft.com/office/drawing/2014/main" id="{FF4C33D7-131F-4224-8C6E-A096AE01DCFE}"/>
              </a:ext>
            </a:extLst>
          </p:cNvPr>
          <p:cNvSpPr>
            <a:spLocks noEditPoints="1"/>
          </p:cNvSpPr>
          <p:nvPr/>
        </p:nvSpPr>
        <p:spPr bwMode="auto">
          <a:xfrm>
            <a:off x="4220932" y="3224884"/>
            <a:ext cx="332604" cy="377519"/>
          </a:xfrm>
          <a:custGeom>
            <a:avLst/>
            <a:gdLst>
              <a:gd name="T0" fmla="*/ 179 w 217"/>
              <a:gd name="T1" fmla="*/ 151 h 247"/>
              <a:gd name="T2" fmla="*/ 176 w 217"/>
              <a:gd name="T3" fmla="*/ 67 h 247"/>
              <a:gd name="T4" fmla="*/ 109 w 217"/>
              <a:gd name="T5" fmla="*/ 0 h 247"/>
              <a:gd name="T6" fmla="*/ 42 w 217"/>
              <a:gd name="T7" fmla="*/ 67 h 247"/>
              <a:gd name="T8" fmla="*/ 38 w 217"/>
              <a:gd name="T9" fmla="*/ 151 h 247"/>
              <a:gd name="T10" fmla="*/ 0 w 217"/>
              <a:gd name="T11" fmla="*/ 198 h 247"/>
              <a:gd name="T12" fmla="*/ 3 w 217"/>
              <a:gd name="T13" fmla="*/ 247 h 247"/>
              <a:gd name="T14" fmla="*/ 214 w 217"/>
              <a:gd name="T15" fmla="*/ 247 h 247"/>
              <a:gd name="T16" fmla="*/ 217 w 217"/>
              <a:gd name="T17" fmla="*/ 198 h 247"/>
              <a:gd name="T18" fmla="*/ 179 w 217"/>
              <a:gd name="T19" fmla="*/ 151 h 247"/>
              <a:gd name="T20" fmla="*/ 139 w 217"/>
              <a:gd name="T21" fmla="*/ 194 h 247"/>
              <a:gd name="T22" fmla="*/ 109 w 217"/>
              <a:gd name="T23" fmla="*/ 203 h 247"/>
              <a:gd name="T24" fmla="*/ 76 w 217"/>
              <a:gd name="T25" fmla="*/ 192 h 247"/>
              <a:gd name="T26" fmla="*/ 67 w 217"/>
              <a:gd name="T27" fmla="*/ 148 h 247"/>
              <a:gd name="T28" fmla="*/ 83 w 217"/>
              <a:gd name="T29" fmla="*/ 143 h 247"/>
              <a:gd name="T30" fmla="*/ 82 w 217"/>
              <a:gd name="T31" fmla="*/ 122 h 247"/>
              <a:gd name="T32" fmla="*/ 68 w 217"/>
              <a:gd name="T33" fmla="*/ 79 h 247"/>
              <a:gd name="T34" fmla="*/ 72 w 217"/>
              <a:gd name="T35" fmla="*/ 53 h 247"/>
              <a:gd name="T36" fmla="*/ 96 w 217"/>
              <a:gd name="T37" fmla="*/ 48 h 247"/>
              <a:gd name="T38" fmla="*/ 78 w 217"/>
              <a:gd name="T39" fmla="*/ 62 h 247"/>
              <a:gd name="T40" fmla="*/ 146 w 217"/>
              <a:gd name="T41" fmla="*/ 55 h 247"/>
              <a:gd name="T42" fmla="*/ 150 w 217"/>
              <a:gd name="T43" fmla="*/ 79 h 247"/>
              <a:gd name="T44" fmla="*/ 135 w 217"/>
              <a:gd name="T45" fmla="*/ 122 h 247"/>
              <a:gd name="T46" fmla="*/ 135 w 217"/>
              <a:gd name="T47" fmla="*/ 143 h 247"/>
              <a:gd name="T48" fmla="*/ 150 w 217"/>
              <a:gd name="T49" fmla="*/ 148 h 247"/>
              <a:gd name="T50" fmla="*/ 139 w 217"/>
              <a:gd name="T51" fmla="*/ 194 h 2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17" h="247">
                <a:moveTo>
                  <a:pt x="179" y="151"/>
                </a:moveTo>
                <a:cubicBezTo>
                  <a:pt x="157" y="144"/>
                  <a:pt x="177" y="108"/>
                  <a:pt x="176" y="67"/>
                </a:cubicBezTo>
                <a:cubicBezTo>
                  <a:pt x="176" y="30"/>
                  <a:pt x="146" y="0"/>
                  <a:pt x="109" y="0"/>
                </a:cubicBezTo>
                <a:cubicBezTo>
                  <a:pt x="72" y="0"/>
                  <a:pt x="42" y="30"/>
                  <a:pt x="42" y="67"/>
                </a:cubicBezTo>
                <a:cubicBezTo>
                  <a:pt x="41" y="108"/>
                  <a:pt x="63" y="143"/>
                  <a:pt x="38" y="151"/>
                </a:cubicBezTo>
                <a:cubicBezTo>
                  <a:pt x="14" y="158"/>
                  <a:pt x="0" y="172"/>
                  <a:pt x="0" y="198"/>
                </a:cubicBezTo>
                <a:cubicBezTo>
                  <a:pt x="3" y="247"/>
                  <a:pt x="3" y="247"/>
                  <a:pt x="3" y="247"/>
                </a:cubicBezTo>
                <a:cubicBezTo>
                  <a:pt x="214" y="247"/>
                  <a:pt x="214" y="247"/>
                  <a:pt x="214" y="247"/>
                </a:cubicBezTo>
                <a:cubicBezTo>
                  <a:pt x="217" y="198"/>
                  <a:pt x="217" y="198"/>
                  <a:pt x="217" y="198"/>
                </a:cubicBezTo>
                <a:cubicBezTo>
                  <a:pt x="217" y="172"/>
                  <a:pt x="205" y="159"/>
                  <a:pt x="179" y="151"/>
                </a:cubicBezTo>
                <a:close/>
                <a:moveTo>
                  <a:pt x="139" y="194"/>
                </a:moveTo>
                <a:cubicBezTo>
                  <a:pt x="132" y="199"/>
                  <a:pt x="121" y="203"/>
                  <a:pt x="109" y="203"/>
                </a:cubicBezTo>
                <a:cubicBezTo>
                  <a:pt x="96" y="203"/>
                  <a:pt x="84" y="199"/>
                  <a:pt x="76" y="192"/>
                </a:cubicBezTo>
                <a:cubicBezTo>
                  <a:pt x="73" y="176"/>
                  <a:pt x="70" y="158"/>
                  <a:pt x="67" y="148"/>
                </a:cubicBezTo>
                <a:cubicBezTo>
                  <a:pt x="67" y="148"/>
                  <a:pt x="75" y="144"/>
                  <a:pt x="83" y="143"/>
                </a:cubicBezTo>
                <a:cubicBezTo>
                  <a:pt x="83" y="136"/>
                  <a:pt x="83" y="130"/>
                  <a:pt x="82" y="122"/>
                </a:cubicBezTo>
                <a:cubicBezTo>
                  <a:pt x="72" y="110"/>
                  <a:pt x="68" y="97"/>
                  <a:pt x="68" y="79"/>
                </a:cubicBezTo>
                <a:cubicBezTo>
                  <a:pt x="68" y="70"/>
                  <a:pt x="69" y="60"/>
                  <a:pt x="72" y="53"/>
                </a:cubicBezTo>
                <a:cubicBezTo>
                  <a:pt x="85" y="45"/>
                  <a:pt x="96" y="48"/>
                  <a:pt x="96" y="48"/>
                </a:cubicBezTo>
                <a:cubicBezTo>
                  <a:pt x="91" y="58"/>
                  <a:pt x="78" y="62"/>
                  <a:pt x="78" y="62"/>
                </a:cubicBezTo>
                <a:cubicBezTo>
                  <a:pt x="111" y="71"/>
                  <a:pt x="134" y="63"/>
                  <a:pt x="146" y="55"/>
                </a:cubicBezTo>
                <a:cubicBezTo>
                  <a:pt x="148" y="62"/>
                  <a:pt x="150" y="71"/>
                  <a:pt x="150" y="79"/>
                </a:cubicBezTo>
                <a:cubicBezTo>
                  <a:pt x="150" y="96"/>
                  <a:pt x="145" y="109"/>
                  <a:pt x="135" y="122"/>
                </a:cubicBezTo>
                <a:cubicBezTo>
                  <a:pt x="134" y="130"/>
                  <a:pt x="134" y="136"/>
                  <a:pt x="135" y="143"/>
                </a:cubicBezTo>
                <a:cubicBezTo>
                  <a:pt x="141" y="144"/>
                  <a:pt x="150" y="148"/>
                  <a:pt x="150" y="148"/>
                </a:cubicBezTo>
                <a:cubicBezTo>
                  <a:pt x="145" y="160"/>
                  <a:pt x="142" y="178"/>
                  <a:pt x="139" y="19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sz="1100" dirty="0">
              <a:solidFill>
                <a:srgbClr val="000000"/>
              </a:solidFill>
              <a:latin typeface="Verdana"/>
            </a:endParaRP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ED2CAC45-0F71-4742-9DE3-2CCAD66FAB93}"/>
              </a:ext>
            </a:extLst>
          </p:cNvPr>
          <p:cNvGrpSpPr/>
          <p:nvPr/>
        </p:nvGrpSpPr>
        <p:grpSpPr>
          <a:xfrm>
            <a:off x="4197612" y="3848142"/>
            <a:ext cx="379244" cy="274200"/>
            <a:chOff x="1498600" y="757238"/>
            <a:chExt cx="882650" cy="638175"/>
          </a:xfrm>
          <a:solidFill>
            <a:schemeClr val="accent2"/>
          </a:solidFill>
        </p:grpSpPr>
        <p:sp>
          <p:nvSpPr>
            <p:cNvPr id="22" name="Freeform 60">
              <a:extLst>
                <a:ext uri="{FF2B5EF4-FFF2-40B4-BE49-F238E27FC236}">
                  <a16:creationId xmlns:a16="http://schemas.microsoft.com/office/drawing/2014/main" id="{0F5214E9-2290-4D6F-9C2E-62FFA4AEA8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600" y="1055688"/>
              <a:ext cx="882650" cy="339725"/>
            </a:xfrm>
            <a:custGeom>
              <a:avLst/>
              <a:gdLst>
                <a:gd name="T0" fmla="*/ 410 w 556"/>
                <a:gd name="T1" fmla="*/ 0 h 214"/>
                <a:gd name="T2" fmla="*/ 278 w 556"/>
                <a:gd name="T3" fmla="*/ 100 h 214"/>
                <a:gd name="T4" fmla="*/ 146 w 556"/>
                <a:gd name="T5" fmla="*/ 0 h 214"/>
                <a:gd name="T6" fmla="*/ 0 w 556"/>
                <a:gd name="T7" fmla="*/ 146 h 214"/>
                <a:gd name="T8" fmla="*/ 0 w 556"/>
                <a:gd name="T9" fmla="*/ 190 h 214"/>
                <a:gd name="T10" fmla="*/ 0 w 556"/>
                <a:gd name="T11" fmla="*/ 190 h 214"/>
                <a:gd name="T12" fmla="*/ 2 w 556"/>
                <a:gd name="T13" fmla="*/ 200 h 214"/>
                <a:gd name="T14" fmla="*/ 8 w 556"/>
                <a:gd name="T15" fmla="*/ 206 h 214"/>
                <a:gd name="T16" fmla="*/ 16 w 556"/>
                <a:gd name="T17" fmla="*/ 212 h 214"/>
                <a:gd name="T18" fmla="*/ 24 w 556"/>
                <a:gd name="T19" fmla="*/ 214 h 214"/>
                <a:gd name="T20" fmla="*/ 532 w 556"/>
                <a:gd name="T21" fmla="*/ 212 h 214"/>
                <a:gd name="T22" fmla="*/ 532 w 556"/>
                <a:gd name="T23" fmla="*/ 212 h 214"/>
                <a:gd name="T24" fmla="*/ 542 w 556"/>
                <a:gd name="T25" fmla="*/ 212 h 214"/>
                <a:gd name="T26" fmla="*/ 550 w 556"/>
                <a:gd name="T27" fmla="*/ 206 h 214"/>
                <a:gd name="T28" fmla="*/ 554 w 556"/>
                <a:gd name="T29" fmla="*/ 198 h 214"/>
                <a:gd name="T30" fmla="*/ 556 w 556"/>
                <a:gd name="T31" fmla="*/ 190 h 214"/>
                <a:gd name="T32" fmla="*/ 556 w 556"/>
                <a:gd name="T33" fmla="*/ 146 h 214"/>
                <a:gd name="T34" fmla="*/ 410 w 556"/>
                <a:gd name="T35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56" h="214">
                  <a:moveTo>
                    <a:pt x="410" y="0"/>
                  </a:moveTo>
                  <a:lnTo>
                    <a:pt x="278" y="100"/>
                  </a:lnTo>
                  <a:lnTo>
                    <a:pt x="146" y="0"/>
                  </a:lnTo>
                  <a:lnTo>
                    <a:pt x="0" y="146"/>
                  </a:lnTo>
                  <a:lnTo>
                    <a:pt x="0" y="190"/>
                  </a:lnTo>
                  <a:lnTo>
                    <a:pt x="0" y="190"/>
                  </a:lnTo>
                  <a:lnTo>
                    <a:pt x="2" y="200"/>
                  </a:lnTo>
                  <a:lnTo>
                    <a:pt x="8" y="206"/>
                  </a:lnTo>
                  <a:lnTo>
                    <a:pt x="16" y="212"/>
                  </a:lnTo>
                  <a:lnTo>
                    <a:pt x="24" y="214"/>
                  </a:lnTo>
                  <a:lnTo>
                    <a:pt x="532" y="212"/>
                  </a:lnTo>
                  <a:lnTo>
                    <a:pt x="532" y="212"/>
                  </a:lnTo>
                  <a:lnTo>
                    <a:pt x="542" y="212"/>
                  </a:lnTo>
                  <a:lnTo>
                    <a:pt x="550" y="206"/>
                  </a:lnTo>
                  <a:lnTo>
                    <a:pt x="554" y="198"/>
                  </a:lnTo>
                  <a:lnTo>
                    <a:pt x="556" y="190"/>
                  </a:lnTo>
                  <a:lnTo>
                    <a:pt x="556" y="146"/>
                  </a:lnTo>
                  <a:lnTo>
                    <a:pt x="4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3" name="Freeform 61">
              <a:extLst>
                <a:ext uri="{FF2B5EF4-FFF2-40B4-BE49-F238E27FC236}">
                  <a16:creationId xmlns:a16="http://schemas.microsoft.com/office/drawing/2014/main" id="{47C72D6A-8B0B-475E-BB2B-7880887ACA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8600" y="877888"/>
              <a:ext cx="184150" cy="323850"/>
            </a:xfrm>
            <a:custGeom>
              <a:avLst/>
              <a:gdLst>
                <a:gd name="T0" fmla="*/ 116 w 116"/>
                <a:gd name="T1" fmla="*/ 88 h 204"/>
                <a:gd name="T2" fmla="*/ 0 w 116"/>
                <a:gd name="T3" fmla="*/ 0 h 204"/>
                <a:gd name="T4" fmla="*/ 0 w 116"/>
                <a:gd name="T5" fmla="*/ 204 h 204"/>
                <a:gd name="T6" fmla="*/ 116 w 116"/>
                <a:gd name="T7" fmla="*/ 88 h 2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6" h="204">
                  <a:moveTo>
                    <a:pt x="116" y="88"/>
                  </a:moveTo>
                  <a:lnTo>
                    <a:pt x="0" y="0"/>
                  </a:lnTo>
                  <a:lnTo>
                    <a:pt x="0" y="204"/>
                  </a:lnTo>
                  <a:lnTo>
                    <a:pt x="116" y="8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4" name="Freeform 62">
              <a:extLst>
                <a:ext uri="{FF2B5EF4-FFF2-40B4-BE49-F238E27FC236}">
                  <a16:creationId xmlns:a16="http://schemas.microsoft.com/office/drawing/2014/main" id="{50D9F359-3DE5-426A-B2FB-CC5FA3C71FC6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7100" y="877888"/>
              <a:ext cx="184150" cy="320675"/>
            </a:xfrm>
            <a:custGeom>
              <a:avLst/>
              <a:gdLst>
                <a:gd name="T0" fmla="*/ 0 w 116"/>
                <a:gd name="T1" fmla="*/ 88 h 202"/>
                <a:gd name="T2" fmla="*/ 116 w 116"/>
                <a:gd name="T3" fmla="*/ 202 h 202"/>
                <a:gd name="T4" fmla="*/ 116 w 116"/>
                <a:gd name="T5" fmla="*/ 0 h 202"/>
                <a:gd name="T6" fmla="*/ 0 w 116"/>
                <a:gd name="T7" fmla="*/ 88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6" h="202">
                  <a:moveTo>
                    <a:pt x="0" y="88"/>
                  </a:moveTo>
                  <a:lnTo>
                    <a:pt x="116" y="202"/>
                  </a:lnTo>
                  <a:lnTo>
                    <a:pt x="116" y="0"/>
                  </a:lnTo>
                  <a:lnTo>
                    <a:pt x="0" y="8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5" name="Freeform 63">
              <a:extLst>
                <a:ext uri="{FF2B5EF4-FFF2-40B4-BE49-F238E27FC236}">
                  <a16:creationId xmlns:a16="http://schemas.microsoft.com/office/drawing/2014/main" id="{B4362E2C-C5C9-40EC-9063-4DB5E11B23C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98600" y="757238"/>
              <a:ext cx="882650" cy="390525"/>
            </a:xfrm>
            <a:custGeom>
              <a:avLst/>
              <a:gdLst>
                <a:gd name="T0" fmla="*/ 24 w 556"/>
                <a:gd name="T1" fmla="*/ 2 h 246"/>
                <a:gd name="T2" fmla="*/ 2 w 556"/>
                <a:gd name="T3" fmla="*/ 16 h 246"/>
                <a:gd name="T4" fmla="*/ 278 w 556"/>
                <a:gd name="T5" fmla="*/ 246 h 246"/>
                <a:gd name="T6" fmla="*/ 556 w 556"/>
                <a:gd name="T7" fmla="*/ 24 h 246"/>
                <a:gd name="T8" fmla="*/ 542 w 556"/>
                <a:gd name="T9" fmla="*/ 2 h 246"/>
                <a:gd name="T10" fmla="*/ 362 w 556"/>
                <a:gd name="T11" fmla="*/ 106 h 246"/>
                <a:gd name="T12" fmla="*/ 350 w 556"/>
                <a:gd name="T13" fmla="*/ 126 h 246"/>
                <a:gd name="T14" fmla="*/ 334 w 556"/>
                <a:gd name="T15" fmla="*/ 140 h 246"/>
                <a:gd name="T16" fmla="*/ 312 w 556"/>
                <a:gd name="T17" fmla="*/ 144 h 246"/>
                <a:gd name="T18" fmla="*/ 290 w 556"/>
                <a:gd name="T19" fmla="*/ 138 h 246"/>
                <a:gd name="T20" fmla="*/ 278 w 556"/>
                <a:gd name="T21" fmla="*/ 142 h 246"/>
                <a:gd name="T22" fmla="*/ 252 w 556"/>
                <a:gd name="T23" fmla="*/ 142 h 246"/>
                <a:gd name="T24" fmla="*/ 242 w 556"/>
                <a:gd name="T25" fmla="*/ 138 h 246"/>
                <a:gd name="T26" fmla="*/ 236 w 556"/>
                <a:gd name="T27" fmla="*/ 128 h 246"/>
                <a:gd name="T28" fmla="*/ 232 w 556"/>
                <a:gd name="T29" fmla="*/ 116 h 246"/>
                <a:gd name="T30" fmla="*/ 238 w 556"/>
                <a:gd name="T31" fmla="*/ 94 h 246"/>
                <a:gd name="T32" fmla="*/ 250 w 556"/>
                <a:gd name="T33" fmla="*/ 76 h 246"/>
                <a:gd name="T34" fmla="*/ 266 w 556"/>
                <a:gd name="T35" fmla="*/ 64 h 246"/>
                <a:gd name="T36" fmla="*/ 288 w 556"/>
                <a:gd name="T37" fmla="*/ 60 h 246"/>
                <a:gd name="T38" fmla="*/ 304 w 556"/>
                <a:gd name="T39" fmla="*/ 62 h 246"/>
                <a:gd name="T40" fmla="*/ 308 w 556"/>
                <a:gd name="T41" fmla="*/ 126 h 246"/>
                <a:gd name="T42" fmla="*/ 320 w 556"/>
                <a:gd name="T43" fmla="*/ 126 h 246"/>
                <a:gd name="T44" fmla="*/ 332 w 556"/>
                <a:gd name="T45" fmla="*/ 118 h 246"/>
                <a:gd name="T46" fmla="*/ 342 w 556"/>
                <a:gd name="T47" fmla="*/ 98 h 246"/>
                <a:gd name="T48" fmla="*/ 344 w 556"/>
                <a:gd name="T49" fmla="*/ 84 h 246"/>
                <a:gd name="T50" fmla="*/ 336 w 556"/>
                <a:gd name="T51" fmla="*/ 58 h 246"/>
                <a:gd name="T52" fmla="*/ 322 w 556"/>
                <a:gd name="T53" fmla="*/ 48 h 246"/>
                <a:gd name="T54" fmla="*/ 292 w 556"/>
                <a:gd name="T55" fmla="*/ 42 h 246"/>
                <a:gd name="T56" fmla="*/ 258 w 556"/>
                <a:gd name="T57" fmla="*/ 48 h 246"/>
                <a:gd name="T58" fmla="*/ 234 w 556"/>
                <a:gd name="T59" fmla="*/ 64 h 246"/>
                <a:gd name="T60" fmla="*/ 220 w 556"/>
                <a:gd name="T61" fmla="*/ 86 h 246"/>
                <a:gd name="T62" fmla="*/ 214 w 556"/>
                <a:gd name="T63" fmla="*/ 114 h 246"/>
                <a:gd name="T64" fmla="*/ 218 w 556"/>
                <a:gd name="T65" fmla="*/ 136 h 246"/>
                <a:gd name="T66" fmla="*/ 230 w 556"/>
                <a:gd name="T67" fmla="*/ 152 h 246"/>
                <a:gd name="T68" fmla="*/ 246 w 556"/>
                <a:gd name="T69" fmla="*/ 160 h 246"/>
                <a:gd name="T70" fmla="*/ 266 w 556"/>
                <a:gd name="T71" fmla="*/ 162 h 246"/>
                <a:gd name="T72" fmla="*/ 284 w 556"/>
                <a:gd name="T73" fmla="*/ 160 h 246"/>
                <a:gd name="T74" fmla="*/ 302 w 556"/>
                <a:gd name="T75" fmla="*/ 166 h 246"/>
                <a:gd name="T76" fmla="*/ 306 w 556"/>
                <a:gd name="T77" fmla="*/ 174 h 246"/>
                <a:gd name="T78" fmla="*/ 286 w 556"/>
                <a:gd name="T79" fmla="*/ 178 h 246"/>
                <a:gd name="T80" fmla="*/ 276 w 556"/>
                <a:gd name="T81" fmla="*/ 180 h 246"/>
                <a:gd name="T82" fmla="*/ 248 w 556"/>
                <a:gd name="T83" fmla="*/ 180 h 246"/>
                <a:gd name="T84" fmla="*/ 222 w 556"/>
                <a:gd name="T85" fmla="*/ 172 h 246"/>
                <a:gd name="T86" fmla="*/ 204 w 556"/>
                <a:gd name="T87" fmla="*/ 156 h 246"/>
                <a:gd name="T88" fmla="*/ 192 w 556"/>
                <a:gd name="T89" fmla="*/ 130 h 246"/>
                <a:gd name="T90" fmla="*/ 192 w 556"/>
                <a:gd name="T91" fmla="*/ 100 h 246"/>
                <a:gd name="T92" fmla="*/ 204 w 556"/>
                <a:gd name="T93" fmla="*/ 68 h 246"/>
                <a:gd name="T94" fmla="*/ 230 w 556"/>
                <a:gd name="T95" fmla="*/ 42 h 246"/>
                <a:gd name="T96" fmla="*/ 258 w 556"/>
                <a:gd name="T97" fmla="*/ 28 h 246"/>
                <a:gd name="T98" fmla="*/ 294 w 556"/>
                <a:gd name="T99" fmla="*/ 24 h 246"/>
                <a:gd name="T100" fmla="*/ 322 w 556"/>
                <a:gd name="T101" fmla="*/ 28 h 246"/>
                <a:gd name="T102" fmla="*/ 344 w 556"/>
                <a:gd name="T103" fmla="*/ 38 h 246"/>
                <a:gd name="T104" fmla="*/ 360 w 556"/>
                <a:gd name="T105" fmla="*/ 58 h 246"/>
                <a:gd name="T106" fmla="*/ 366 w 556"/>
                <a:gd name="T107" fmla="*/ 84 h 246"/>
                <a:gd name="T108" fmla="*/ 362 w 556"/>
                <a:gd name="T109" fmla="*/ 106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56" h="246">
                  <a:moveTo>
                    <a:pt x="532" y="0"/>
                  </a:moveTo>
                  <a:lnTo>
                    <a:pt x="24" y="2"/>
                  </a:lnTo>
                  <a:lnTo>
                    <a:pt x="24" y="2"/>
                  </a:lnTo>
                  <a:lnTo>
                    <a:pt x="14" y="2"/>
                  </a:lnTo>
                  <a:lnTo>
                    <a:pt x="6" y="8"/>
                  </a:lnTo>
                  <a:lnTo>
                    <a:pt x="2" y="16"/>
                  </a:lnTo>
                  <a:lnTo>
                    <a:pt x="0" y="24"/>
                  </a:lnTo>
                  <a:lnTo>
                    <a:pt x="0" y="34"/>
                  </a:lnTo>
                  <a:lnTo>
                    <a:pt x="278" y="246"/>
                  </a:lnTo>
                  <a:lnTo>
                    <a:pt x="556" y="34"/>
                  </a:lnTo>
                  <a:lnTo>
                    <a:pt x="556" y="24"/>
                  </a:lnTo>
                  <a:lnTo>
                    <a:pt x="556" y="24"/>
                  </a:lnTo>
                  <a:lnTo>
                    <a:pt x="554" y="14"/>
                  </a:lnTo>
                  <a:lnTo>
                    <a:pt x="548" y="8"/>
                  </a:lnTo>
                  <a:lnTo>
                    <a:pt x="542" y="2"/>
                  </a:lnTo>
                  <a:lnTo>
                    <a:pt x="532" y="0"/>
                  </a:lnTo>
                  <a:lnTo>
                    <a:pt x="532" y="0"/>
                  </a:lnTo>
                  <a:close/>
                  <a:moveTo>
                    <a:pt x="362" y="106"/>
                  </a:moveTo>
                  <a:lnTo>
                    <a:pt x="362" y="106"/>
                  </a:lnTo>
                  <a:lnTo>
                    <a:pt x="358" y="116"/>
                  </a:lnTo>
                  <a:lnTo>
                    <a:pt x="350" y="126"/>
                  </a:lnTo>
                  <a:lnTo>
                    <a:pt x="350" y="126"/>
                  </a:lnTo>
                  <a:lnTo>
                    <a:pt x="344" y="132"/>
                  </a:lnTo>
                  <a:lnTo>
                    <a:pt x="334" y="140"/>
                  </a:lnTo>
                  <a:lnTo>
                    <a:pt x="334" y="140"/>
                  </a:lnTo>
                  <a:lnTo>
                    <a:pt x="324" y="144"/>
                  </a:lnTo>
                  <a:lnTo>
                    <a:pt x="312" y="144"/>
                  </a:lnTo>
                  <a:lnTo>
                    <a:pt x="312" y="144"/>
                  </a:lnTo>
                  <a:lnTo>
                    <a:pt x="300" y="142"/>
                  </a:lnTo>
                  <a:lnTo>
                    <a:pt x="290" y="138"/>
                  </a:lnTo>
                  <a:lnTo>
                    <a:pt x="290" y="138"/>
                  </a:lnTo>
                  <a:lnTo>
                    <a:pt x="278" y="142"/>
                  </a:lnTo>
                  <a:lnTo>
                    <a:pt x="278" y="142"/>
                  </a:lnTo>
                  <a:lnTo>
                    <a:pt x="262" y="144"/>
                  </a:lnTo>
                  <a:lnTo>
                    <a:pt x="262" y="144"/>
                  </a:lnTo>
                  <a:lnTo>
                    <a:pt x="252" y="142"/>
                  </a:lnTo>
                  <a:lnTo>
                    <a:pt x="252" y="142"/>
                  </a:lnTo>
                  <a:lnTo>
                    <a:pt x="246" y="140"/>
                  </a:lnTo>
                  <a:lnTo>
                    <a:pt x="242" y="138"/>
                  </a:lnTo>
                  <a:lnTo>
                    <a:pt x="242" y="138"/>
                  </a:lnTo>
                  <a:lnTo>
                    <a:pt x="238" y="134"/>
                  </a:lnTo>
                  <a:lnTo>
                    <a:pt x="236" y="128"/>
                  </a:lnTo>
                  <a:lnTo>
                    <a:pt x="236" y="128"/>
                  </a:lnTo>
                  <a:lnTo>
                    <a:pt x="234" y="122"/>
                  </a:lnTo>
                  <a:lnTo>
                    <a:pt x="232" y="116"/>
                  </a:lnTo>
                  <a:lnTo>
                    <a:pt x="232" y="116"/>
                  </a:lnTo>
                  <a:lnTo>
                    <a:pt x="234" y="104"/>
                  </a:lnTo>
                  <a:lnTo>
                    <a:pt x="238" y="94"/>
                  </a:lnTo>
                  <a:lnTo>
                    <a:pt x="238" y="94"/>
                  </a:lnTo>
                  <a:lnTo>
                    <a:pt x="242" y="84"/>
                  </a:lnTo>
                  <a:lnTo>
                    <a:pt x="250" y="76"/>
                  </a:lnTo>
                  <a:lnTo>
                    <a:pt x="250" y="76"/>
                  </a:lnTo>
                  <a:lnTo>
                    <a:pt x="256" y="70"/>
                  </a:lnTo>
                  <a:lnTo>
                    <a:pt x="266" y="64"/>
                  </a:lnTo>
                  <a:lnTo>
                    <a:pt x="266" y="64"/>
                  </a:lnTo>
                  <a:lnTo>
                    <a:pt x="276" y="62"/>
                  </a:lnTo>
                  <a:lnTo>
                    <a:pt x="288" y="60"/>
                  </a:lnTo>
                  <a:lnTo>
                    <a:pt x="288" y="60"/>
                  </a:lnTo>
                  <a:lnTo>
                    <a:pt x="304" y="62"/>
                  </a:lnTo>
                  <a:lnTo>
                    <a:pt x="304" y="62"/>
                  </a:lnTo>
                  <a:lnTo>
                    <a:pt x="320" y="64"/>
                  </a:lnTo>
                  <a:lnTo>
                    <a:pt x="308" y="126"/>
                  </a:lnTo>
                  <a:lnTo>
                    <a:pt x="308" y="126"/>
                  </a:lnTo>
                  <a:lnTo>
                    <a:pt x="314" y="126"/>
                  </a:lnTo>
                  <a:lnTo>
                    <a:pt x="314" y="126"/>
                  </a:lnTo>
                  <a:lnTo>
                    <a:pt x="320" y="126"/>
                  </a:lnTo>
                  <a:lnTo>
                    <a:pt x="326" y="122"/>
                  </a:lnTo>
                  <a:lnTo>
                    <a:pt x="326" y="122"/>
                  </a:lnTo>
                  <a:lnTo>
                    <a:pt x="332" y="118"/>
                  </a:lnTo>
                  <a:lnTo>
                    <a:pt x="336" y="112"/>
                  </a:lnTo>
                  <a:lnTo>
                    <a:pt x="336" y="112"/>
                  </a:lnTo>
                  <a:lnTo>
                    <a:pt x="342" y="98"/>
                  </a:lnTo>
                  <a:lnTo>
                    <a:pt x="342" y="98"/>
                  </a:lnTo>
                  <a:lnTo>
                    <a:pt x="344" y="84"/>
                  </a:lnTo>
                  <a:lnTo>
                    <a:pt x="344" y="84"/>
                  </a:lnTo>
                  <a:lnTo>
                    <a:pt x="342" y="74"/>
                  </a:lnTo>
                  <a:lnTo>
                    <a:pt x="340" y="66"/>
                  </a:lnTo>
                  <a:lnTo>
                    <a:pt x="336" y="58"/>
                  </a:lnTo>
                  <a:lnTo>
                    <a:pt x="330" y="52"/>
                  </a:lnTo>
                  <a:lnTo>
                    <a:pt x="330" y="52"/>
                  </a:lnTo>
                  <a:lnTo>
                    <a:pt x="322" y="48"/>
                  </a:lnTo>
                  <a:lnTo>
                    <a:pt x="314" y="44"/>
                  </a:lnTo>
                  <a:lnTo>
                    <a:pt x="304" y="42"/>
                  </a:lnTo>
                  <a:lnTo>
                    <a:pt x="292" y="42"/>
                  </a:lnTo>
                  <a:lnTo>
                    <a:pt x="292" y="42"/>
                  </a:lnTo>
                  <a:lnTo>
                    <a:pt x="274" y="44"/>
                  </a:lnTo>
                  <a:lnTo>
                    <a:pt x="258" y="48"/>
                  </a:lnTo>
                  <a:lnTo>
                    <a:pt x="258" y="48"/>
                  </a:lnTo>
                  <a:lnTo>
                    <a:pt x="246" y="54"/>
                  </a:lnTo>
                  <a:lnTo>
                    <a:pt x="234" y="64"/>
                  </a:lnTo>
                  <a:lnTo>
                    <a:pt x="234" y="64"/>
                  </a:lnTo>
                  <a:lnTo>
                    <a:pt x="226" y="74"/>
                  </a:lnTo>
                  <a:lnTo>
                    <a:pt x="220" y="86"/>
                  </a:lnTo>
                  <a:lnTo>
                    <a:pt x="220" y="86"/>
                  </a:lnTo>
                  <a:lnTo>
                    <a:pt x="216" y="100"/>
                  </a:lnTo>
                  <a:lnTo>
                    <a:pt x="214" y="114"/>
                  </a:lnTo>
                  <a:lnTo>
                    <a:pt x="214" y="114"/>
                  </a:lnTo>
                  <a:lnTo>
                    <a:pt x="214" y="126"/>
                  </a:lnTo>
                  <a:lnTo>
                    <a:pt x="218" y="136"/>
                  </a:lnTo>
                  <a:lnTo>
                    <a:pt x="218" y="136"/>
                  </a:lnTo>
                  <a:lnTo>
                    <a:pt x="222" y="144"/>
                  </a:lnTo>
                  <a:lnTo>
                    <a:pt x="230" y="152"/>
                  </a:lnTo>
                  <a:lnTo>
                    <a:pt x="230" y="152"/>
                  </a:lnTo>
                  <a:lnTo>
                    <a:pt x="236" y="156"/>
                  </a:lnTo>
                  <a:lnTo>
                    <a:pt x="246" y="160"/>
                  </a:lnTo>
                  <a:lnTo>
                    <a:pt x="246" y="160"/>
                  </a:lnTo>
                  <a:lnTo>
                    <a:pt x="256" y="162"/>
                  </a:lnTo>
                  <a:lnTo>
                    <a:pt x="266" y="162"/>
                  </a:lnTo>
                  <a:lnTo>
                    <a:pt x="266" y="162"/>
                  </a:lnTo>
                  <a:lnTo>
                    <a:pt x="284" y="160"/>
                  </a:lnTo>
                  <a:lnTo>
                    <a:pt x="284" y="160"/>
                  </a:lnTo>
                  <a:lnTo>
                    <a:pt x="300" y="158"/>
                  </a:lnTo>
                  <a:lnTo>
                    <a:pt x="300" y="158"/>
                  </a:lnTo>
                  <a:lnTo>
                    <a:pt x="302" y="166"/>
                  </a:lnTo>
                  <a:lnTo>
                    <a:pt x="302" y="166"/>
                  </a:lnTo>
                  <a:lnTo>
                    <a:pt x="306" y="174"/>
                  </a:lnTo>
                  <a:lnTo>
                    <a:pt x="306" y="174"/>
                  </a:lnTo>
                  <a:lnTo>
                    <a:pt x="298" y="176"/>
                  </a:lnTo>
                  <a:lnTo>
                    <a:pt x="298" y="176"/>
                  </a:lnTo>
                  <a:lnTo>
                    <a:pt x="286" y="178"/>
                  </a:lnTo>
                  <a:lnTo>
                    <a:pt x="286" y="178"/>
                  </a:lnTo>
                  <a:lnTo>
                    <a:pt x="276" y="180"/>
                  </a:lnTo>
                  <a:lnTo>
                    <a:pt x="276" y="180"/>
                  </a:lnTo>
                  <a:lnTo>
                    <a:pt x="262" y="180"/>
                  </a:lnTo>
                  <a:lnTo>
                    <a:pt x="262" y="180"/>
                  </a:lnTo>
                  <a:lnTo>
                    <a:pt x="248" y="180"/>
                  </a:lnTo>
                  <a:lnTo>
                    <a:pt x="236" y="176"/>
                  </a:lnTo>
                  <a:lnTo>
                    <a:pt x="236" y="176"/>
                  </a:lnTo>
                  <a:lnTo>
                    <a:pt x="222" y="172"/>
                  </a:lnTo>
                  <a:lnTo>
                    <a:pt x="212" y="164"/>
                  </a:lnTo>
                  <a:lnTo>
                    <a:pt x="212" y="164"/>
                  </a:lnTo>
                  <a:lnTo>
                    <a:pt x="204" y="156"/>
                  </a:lnTo>
                  <a:lnTo>
                    <a:pt x="196" y="144"/>
                  </a:lnTo>
                  <a:lnTo>
                    <a:pt x="196" y="144"/>
                  </a:lnTo>
                  <a:lnTo>
                    <a:pt x="192" y="130"/>
                  </a:lnTo>
                  <a:lnTo>
                    <a:pt x="190" y="114"/>
                  </a:lnTo>
                  <a:lnTo>
                    <a:pt x="190" y="114"/>
                  </a:lnTo>
                  <a:lnTo>
                    <a:pt x="192" y="100"/>
                  </a:lnTo>
                  <a:lnTo>
                    <a:pt x="196" y="82"/>
                  </a:lnTo>
                  <a:lnTo>
                    <a:pt x="196" y="82"/>
                  </a:lnTo>
                  <a:lnTo>
                    <a:pt x="204" y="68"/>
                  </a:lnTo>
                  <a:lnTo>
                    <a:pt x="216" y="54"/>
                  </a:lnTo>
                  <a:lnTo>
                    <a:pt x="216" y="54"/>
                  </a:lnTo>
                  <a:lnTo>
                    <a:pt x="230" y="42"/>
                  </a:lnTo>
                  <a:lnTo>
                    <a:pt x="248" y="32"/>
                  </a:lnTo>
                  <a:lnTo>
                    <a:pt x="248" y="32"/>
                  </a:lnTo>
                  <a:lnTo>
                    <a:pt x="258" y="28"/>
                  </a:lnTo>
                  <a:lnTo>
                    <a:pt x="270" y="26"/>
                  </a:lnTo>
                  <a:lnTo>
                    <a:pt x="294" y="24"/>
                  </a:lnTo>
                  <a:lnTo>
                    <a:pt x="294" y="24"/>
                  </a:lnTo>
                  <a:lnTo>
                    <a:pt x="308" y="24"/>
                  </a:lnTo>
                  <a:lnTo>
                    <a:pt x="322" y="28"/>
                  </a:lnTo>
                  <a:lnTo>
                    <a:pt x="322" y="28"/>
                  </a:lnTo>
                  <a:lnTo>
                    <a:pt x="334" y="32"/>
                  </a:lnTo>
                  <a:lnTo>
                    <a:pt x="344" y="38"/>
                  </a:lnTo>
                  <a:lnTo>
                    <a:pt x="344" y="38"/>
                  </a:lnTo>
                  <a:lnTo>
                    <a:pt x="354" y="46"/>
                  </a:lnTo>
                  <a:lnTo>
                    <a:pt x="360" y="58"/>
                  </a:lnTo>
                  <a:lnTo>
                    <a:pt x="360" y="58"/>
                  </a:lnTo>
                  <a:lnTo>
                    <a:pt x="364" y="70"/>
                  </a:lnTo>
                  <a:lnTo>
                    <a:pt x="366" y="84"/>
                  </a:lnTo>
                  <a:lnTo>
                    <a:pt x="366" y="84"/>
                  </a:lnTo>
                  <a:lnTo>
                    <a:pt x="364" y="94"/>
                  </a:lnTo>
                  <a:lnTo>
                    <a:pt x="362" y="106"/>
                  </a:lnTo>
                  <a:lnTo>
                    <a:pt x="362" y="10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  <p:sp>
          <p:nvSpPr>
            <p:cNvPr id="26" name="Freeform 64">
              <a:extLst>
                <a:ext uri="{FF2B5EF4-FFF2-40B4-BE49-F238E27FC236}">
                  <a16:creationId xmlns:a16="http://schemas.microsoft.com/office/drawing/2014/main" id="{F01EACC9-13B2-42B2-8396-F67C254DE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908175" y="881063"/>
              <a:ext cx="57150" cy="76200"/>
            </a:xfrm>
            <a:custGeom>
              <a:avLst/>
              <a:gdLst>
                <a:gd name="T0" fmla="*/ 28 w 36"/>
                <a:gd name="T1" fmla="*/ 0 h 48"/>
                <a:gd name="T2" fmla="*/ 28 w 36"/>
                <a:gd name="T3" fmla="*/ 0 h 48"/>
                <a:gd name="T4" fmla="*/ 22 w 36"/>
                <a:gd name="T5" fmla="*/ 2 h 48"/>
                <a:gd name="T6" fmla="*/ 16 w 36"/>
                <a:gd name="T7" fmla="*/ 4 h 48"/>
                <a:gd name="T8" fmla="*/ 16 w 36"/>
                <a:gd name="T9" fmla="*/ 4 h 48"/>
                <a:gd name="T10" fmla="*/ 8 w 36"/>
                <a:gd name="T11" fmla="*/ 10 h 48"/>
                <a:gd name="T12" fmla="*/ 8 w 36"/>
                <a:gd name="T13" fmla="*/ 10 h 48"/>
                <a:gd name="T14" fmla="*/ 2 w 36"/>
                <a:gd name="T15" fmla="*/ 20 h 48"/>
                <a:gd name="T16" fmla="*/ 2 w 36"/>
                <a:gd name="T17" fmla="*/ 20 h 48"/>
                <a:gd name="T18" fmla="*/ 0 w 36"/>
                <a:gd name="T19" fmla="*/ 34 h 48"/>
                <a:gd name="T20" fmla="*/ 0 w 36"/>
                <a:gd name="T21" fmla="*/ 34 h 48"/>
                <a:gd name="T22" fmla="*/ 2 w 36"/>
                <a:gd name="T23" fmla="*/ 40 h 48"/>
                <a:gd name="T24" fmla="*/ 4 w 36"/>
                <a:gd name="T25" fmla="*/ 44 h 48"/>
                <a:gd name="T26" fmla="*/ 4 w 36"/>
                <a:gd name="T27" fmla="*/ 44 h 48"/>
                <a:gd name="T28" fmla="*/ 8 w 36"/>
                <a:gd name="T29" fmla="*/ 48 h 48"/>
                <a:gd name="T30" fmla="*/ 14 w 36"/>
                <a:gd name="T31" fmla="*/ 48 h 48"/>
                <a:gd name="T32" fmla="*/ 14 w 36"/>
                <a:gd name="T33" fmla="*/ 48 h 48"/>
                <a:gd name="T34" fmla="*/ 20 w 36"/>
                <a:gd name="T35" fmla="*/ 48 h 48"/>
                <a:gd name="T36" fmla="*/ 20 w 36"/>
                <a:gd name="T37" fmla="*/ 48 h 48"/>
                <a:gd name="T38" fmla="*/ 26 w 36"/>
                <a:gd name="T39" fmla="*/ 46 h 48"/>
                <a:gd name="T40" fmla="*/ 36 w 36"/>
                <a:gd name="T41" fmla="*/ 2 h 48"/>
                <a:gd name="T42" fmla="*/ 36 w 36"/>
                <a:gd name="T43" fmla="*/ 2 h 48"/>
                <a:gd name="T44" fmla="*/ 32 w 36"/>
                <a:gd name="T45" fmla="*/ 0 h 48"/>
                <a:gd name="T46" fmla="*/ 32 w 36"/>
                <a:gd name="T47" fmla="*/ 0 h 48"/>
                <a:gd name="T48" fmla="*/ 28 w 36"/>
                <a:gd name="T49" fmla="*/ 0 h 48"/>
                <a:gd name="T50" fmla="*/ 28 w 36"/>
                <a:gd name="T51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" h="48">
                  <a:moveTo>
                    <a:pt x="28" y="0"/>
                  </a:moveTo>
                  <a:lnTo>
                    <a:pt x="28" y="0"/>
                  </a:lnTo>
                  <a:lnTo>
                    <a:pt x="22" y="2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0" y="34"/>
                  </a:lnTo>
                  <a:lnTo>
                    <a:pt x="0" y="34"/>
                  </a:lnTo>
                  <a:lnTo>
                    <a:pt x="2" y="40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6" y="46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28" y="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endParaRPr lang="en-US" dirty="0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C072B37F-2B98-47A5-8CD8-CAF04CB1C99A}"/>
              </a:ext>
            </a:extLst>
          </p:cNvPr>
          <p:cNvGrpSpPr/>
          <p:nvPr/>
        </p:nvGrpSpPr>
        <p:grpSpPr>
          <a:xfrm>
            <a:off x="4231060" y="4416483"/>
            <a:ext cx="312349" cy="313190"/>
            <a:chOff x="-3209795" y="1835694"/>
            <a:chExt cx="2878360" cy="2886109"/>
          </a:xfrm>
          <a:solidFill>
            <a:schemeClr val="accent2"/>
          </a:solidFill>
        </p:grpSpPr>
        <p:sp>
          <p:nvSpPr>
            <p:cNvPr id="28" name="Freeform 281">
              <a:extLst>
                <a:ext uri="{FF2B5EF4-FFF2-40B4-BE49-F238E27FC236}">
                  <a16:creationId xmlns:a16="http://schemas.microsoft.com/office/drawing/2014/main" id="{46BE8167-14B9-441A-BB0E-F0A1A733942F}"/>
                </a:ext>
              </a:extLst>
            </p:cNvPr>
            <p:cNvSpPr/>
            <p:nvPr/>
          </p:nvSpPr>
          <p:spPr>
            <a:xfrm>
              <a:off x="-3209795" y="2098255"/>
              <a:ext cx="2440840" cy="2623548"/>
            </a:xfrm>
            <a:custGeom>
              <a:avLst/>
              <a:gdLst>
                <a:gd name="connsiteX0" fmla="*/ 289711 w 2381061"/>
                <a:gd name="connsiteY0" fmla="*/ 18107 h 2553077"/>
                <a:gd name="connsiteX1" fmla="*/ 45267 w 2381061"/>
                <a:gd name="connsiteY1" fmla="*/ 226336 h 2553077"/>
                <a:gd name="connsiteX2" fmla="*/ 0 w 2381061"/>
                <a:gd name="connsiteY2" fmla="*/ 778598 h 2553077"/>
                <a:gd name="connsiteX3" fmla="*/ 1638677 w 2381061"/>
                <a:gd name="connsiteY3" fmla="*/ 2553077 h 2553077"/>
                <a:gd name="connsiteX4" fmla="*/ 2073243 w 2381061"/>
                <a:gd name="connsiteY4" fmla="*/ 2544024 h 2553077"/>
                <a:gd name="connsiteX5" fmla="*/ 2317687 w 2381061"/>
                <a:gd name="connsiteY5" fmla="*/ 2326740 h 2553077"/>
                <a:gd name="connsiteX6" fmla="*/ 2381061 w 2381061"/>
                <a:gd name="connsiteY6" fmla="*/ 2009869 h 2553077"/>
                <a:gd name="connsiteX7" fmla="*/ 2027976 w 2381061"/>
                <a:gd name="connsiteY7" fmla="*/ 1656784 h 2553077"/>
                <a:gd name="connsiteX8" fmla="*/ 1702051 w 2381061"/>
                <a:gd name="connsiteY8" fmla="*/ 1683944 h 2553077"/>
                <a:gd name="connsiteX9" fmla="*/ 1584356 w 2381061"/>
                <a:gd name="connsiteY9" fmla="*/ 1774479 h 2553077"/>
                <a:gd name="connsiteX10" fmla="*/ 1330859 w 2381061"/>
                <a:gd name="connsiteY10" fmla="*/ 1792586 h 2553077"/>
                <a:gd name="connsiteX11" fmla="*/ 706170 w 2381061"/>
                <a:gd name="connsiteY11" fmla="*/ 1104523 h 2553077"/>
                <a:gd name="connsiteX12" fmla="*/ 724277 w 2381061"/>
                <a:gd name="connsiteY12" fmla="*/ 841972 h 2553077"/>
                <a:gd name="connsiteX13" fmla="*/ 869132 w 2381061"/>
                <a:gd name="connsiteY13" fmla="*/ 697117 h 2553077"/>
                <a:gd name="connsiteX14" fmla="*/ 914400 w 2381061"/>
                <a:gd name="connsiteY14" fmla="*/ 425513 h 2553077"/>
                <a:gd name="connsiteX15" fmla="*/ 615635 w 2381061"/>
                <a:gd name="connsiteY15" fmla="*/ 0 h 2553077"/>
                <a:gd name="connsiteX16" fmla="*/ 289711 w 2381061"/>
                <a:gd name="connsiteY16" fmla="*/ 18107 h 2553077"/>
                <a:gd name="connsiteX0" fmla="*/ 289711 w 2381061"/>
                <a:gd name="connsiteY0" fmla="*/ 18107 h 2553077"/>
                <a:gd name="connsiteX1" fmla="*/ 45267 w 2381061"/>
                <a:gd name="connsiteY1" fmla="*/ 226336 h 2553077"/>
                <a:gd name="connsiteX2" fmla="*/ 0 w 2381061"/>
                <a:gd name="connsiteY2" fmla="*/ 778598 h 2553077"/>
                <a:gd name="connsiteX3" fmla="*/ 1638677 w 2381061"/>
                <a:gd name="connsiteY3" fmla="*/ 2553077 h 2553077"/>
                <a:gd name="connsiteX4" fmla="*/ 2073243 w 2381061"/>
                <a:gd name="connsiteY4" fmla="*/ 2544024 h 2553077"/>
                <a:gd name="connsiteX5" fmla="*/ 2317687 w 2381061"/>
                <a:gd name="connsiteY5" fmla="*/ 2326740 h 2553077"/>
                <a:gd name="connsiteX6" fmla="*/ 2381061 w 2381061"/>
                <a:gd name="connsiteY6" fmla="*/ 2009869 h 2553077"/>
                <a:gd name="connsiteX7" fmla="*/ 2027976 w 2381061"/>
                <a:gd name="connsiteY7" fmla="*/ 1656784 h 2553077"/>
                <a:gd name="connsiteX8" fmla="*/ 1702051 w 2381061"/>
                <a:gd name="connsiteY8" fmla="*/ 1683944 h 2553077"/>
                <a:gd name="connsiteX9" fmla="*/ 1584356 w 2381061"/>
                <a:gd name="connsiteY9" fmla="*/ 1774479 h 2553077"/>
                <a:gd name="connsiteX10" fmla="*/ 1330859 w 2381061"/>
                <a:gd name="connsiteY10" fmla="*/ 1792586 h 2553077"/>
                <a:gd name="connsiteX11" fmla="*/ 706170 w 2381061"/>
                <a:gd name="connsiteY11" fmla="*/ 1104523 h 2553077"/>
                <a:gd name="connsiteX12" fmla="*/ 724277 w 2381061"/>
                <a:gd name="connsiteY12" fmla="*/ 841972 h 2553077"/>
                <a:gd name="connsiteX13" fmla="*/ 869132 w 2381061"/>
                <a:gd name="connsiteY13" fmla="*/ 697117 h 2553077"/>
                <a:gd name="connsiteX14" fmla="*/ 914400 w 2381061"/>
                <a:gd name="connsiteY14" fmla="*/ 425513 h 2553077"/>
                <a:gd name="connsiteX15" fmla="*/ 615635 w 2381061"/>
                <a:gd name="connsiteY15" fmla="*/ 0 h 2553077"/>
                <a:gd name="connsiteX16" fmla="*/ 289711 w 2381061"/>
                <a:gd name="connsiteY16" fmla="*/ 18107 h 2553077"/>
                <a:gd name="connsiteX0" fmla="*/ 289711 w 2381061"/>
                <a:gd name="connsiteY0" fmla="*/ 18107 h 2553077"/>
                <a:gd name="connsiteX1" fmla="*/ 45267 w 2381061"/>
                <a:gd name="connsiteY1" fmla="*/ 226336 h 2553077"/>
                <a:gd name="connsiteX2" fmla="*/ 0 w 2381061"/>
                <a:gd name="connsiteY2" fmla="*/ 778598 h 2553077"/>
                <a:gd name="connsiteX3" fmla="*/ 1638677 w 2381061"/>
                <a:gd name="connsiteY3" fmla="*/ 2553077 h 2553077"/>
                <a:gd name="connsiteX4" fmla="*/ 2073243 w 2381061"/>
                <a:gd name="connsiteY4" fmla="*/ 2544024 h 2553077"/>
                <a:gd name="connsiteX5" fmla="*/ 2317687 w 2381061"/>
                <a:gd name="connsiteY5" fmla="*/ 2326740 h 2553077"/>
                <a:gd name="connsiteX6" fmla="*/ 2381061 w 2381061"/>
                <a:gd name="connsiteY6" fmla="*/ 2009869 h 2553077"/>
                <a:gd name="connsiteX7" fmla="*/ 2027976 w 2381061"/>
                <a:gd name="connsiteY7" fmla="*/ 1656784 h 2553077"/>
                <a:gd name="connsiteX8" fmla="*/ 1702051 w 2381061"/>
                <a:gd name="connsiteY8" fmla="*/ 1683944 h 2553077"/>
                <a:gd name="connsiteX9" fmla="*/ 1584356 w 2381061"/>
                <a:gd name="connsiteY9" fmla="*/ 1774479 h 2553077"/>
                <a:gd name="connsiteX10" fmla="*/ 1330859 w 2381061"/>
                <a:gd name="connsiteY10" fmla="*/ 1792586 h 2553077"/>
                <a:gd name="connsiteX11" fmla="*/ 706170 w 2381061"/>
                <a:gd name="connsiteY11" fmla="*/ 1104523 h 2553077"/>
                <a:gd name="connsiteX12" fmla="*/ 724277 w 2381061"/>
                <a:gd name="connsiteY12" fmla="*/ 841972 h 2553077"/>
                <a:gd name="connsiteX13" fmla="*/ 869132 w 2381061"/>
                <a:gd name="connsiteY13" fmla="*/ 697117 h 2553077"/>
                <a:gd name="connsiteX14" fmla="*/ 914400 w 2381061"/>
                <a:gd name="connsiteY14" fmla="*/ 425513 h 2553077"/>
                <a:gd name="connsiteX15" fmla="*/ 615635 w 2381061"/>
                <a:gd name="connsiteY15" fmla="*/ 0 h 2553077"/>
                <a:gd name="connsiteX16" fmla="*/ 289711 w 2381061"/>
                <a:gd name="connsiteY16" fmla="*/ 18107 h 2553077"/>
                <a:gd name="connsiteX0" fmla="*/ 289711 w 2381061"/>
                <a:gd name="connsiteY0" fmla="*/ 18107 h 2553077"/>
                <a:gd name="connsiteX1" fmla="*/ 45267 w 2381061"/>
                <a:gd name="connsiteY1" fmla="*/ 226336 h 2553077"/>
                <a:gd name="connsiteX2" fmla="*/ 0 w 2381061"/>
                <a:gd name="connsiteY2" fmla="*/ 778598 h 2553077"/>
                <a:gd name="connsiteX3" fmla="*/ 1638677 w 2381061"/>
                <a:gd name="connsiteY3" fmla="*/ 2553077 h 2553077"/>
                <a:gd name="connsiteX4" fmla="*/ 2073243 w 2381061"/>
                <a:gd name="connsiteY4" fmla="*/ 2544024 h 2553077"/>
                <a:gd name="connsiteX5" fmla="*/ 2317687 w 2381061"/>
                <a:gd name="connsiteY5" fmla="*/ 2326740 h 2553077"/>
                <a:gd name="connsiteX6" fmla="*/ 2381061 w 2381061"/>
                <a:gd name="connsiteY6" fmla="*/ 2009869 h 2553077"/>
                <a:gd name="connsiteX7" fmla="*/ 2027976 w 2381061"/>
                <a:gd name="connsiteY7" fmla="*/ 1656784 h 2553077"/>
                <a:gd name="connsiteX8" fmla="*/ 1702051 w 2381061"/>
                <a:gd name="connsiteY8" fmla="*/ 1683944 h 2553077"/>
                <a:gd name="connsiteX9" fmla="*/ 1584356 w 2381061"/>
                <a:gd name="connsiteY9" fmla="*/ 1774479 h 2553077"/>
                <a:gd name="connsiteX10" fmla="*/ 1330859 w 2381061"/>
                <a:gd name="connsiteY10" fmla="*/ 1792586 h 2553077"/>
                <a:gd name="connsiteX11" fmla="*/ 710933 w 2381061"/>
                <a:gd name="connsiteY11" fmla="*/ 1097379 h 2553077"/>
                <a:gd name="connsiteX12" fmla="*/ 724277 w 2381061"/>
                <a:gd name="connsiteY12" fmla="*/ 841972 h 2553077"/>
                <a:gd name="connsiteX13" fmla="*/ 869132 w 2381061"/>
                <a:gd name="connsiteY13" fmla="*/ 697117 h 2553077"/>
                <a:gd name="connsiteX14" fmla="*/ 914400 w 2381061"/>
                <a:gd name="connsiteY14" fmla="*/ 425513 h 2553077"/>
                <a:gd name="connsiteX15" fmla="*/ 615635 w 2381061"/>
                <a:gd name="connsiteY15" fmla="*/ 0 h 2553077"/>
                <a:gd name="connsiteX16" fmla="*/ 289711 w 2381061"/>
                <a:gd name="connsiteY16" fmla="*/ 18107 h 2553077"/>
                <a:gd name="connsiteX0" fmla="*/ 289711 w 2381061"/>
                <a:gd name="connsiteY0" fmla="*/ 18107 h 2553077"/>
                <a:gd name="connsiteX1" fmla="*/ 45267 w 2381061"/>
                <a:gd name="connsiteY1" fmla="*/ 226336 h 2553077"/>
                <a:gd name="connsiteX2" fmla="*/ 0 w 2381061"/>
                <a:gd name="connsiteY2" fmla="*/ 778598 h 2553077"/>
                <a:gd name="connsiteX3" fmla="*/ 1638677 w 2381061"/>
                <a:gd name="connsiteY3" fmla="*/ 2553077 h 2553077"/>
                <a:gd name="connsiteX4" fmla="*/ 2073243 w 2381061"/>
                <a:gd name="connsiteY4" fmla="*/ 2544024 h 2553077"/>
                <a:gd name="connsiteX5" fmla="*/ 2317687 w 2381061"/>
                <a:gd name="connsiteY5" fmla="*/ 2326740 h 2553077"/>
                <a:gd name="connsiteX6" fmla="*/ 2381061 w 2381061"/>
                <a:gd name="connsiteY6" fmla="*/ 2009869 h 2553077"/>
                <a:gd name="connsiteX7" fmla="*/ 2027976 w 2381061"/>
                <a:gd name="connsiteY7" fmla="*/ 1656784 h 2553077"/>
                <a:gd name="connsiteX8" fmla="*/ 1702051 w 2381061"/>
                <a:gd name="connsiteY8" fmla="*/ 1683944 h 2553077"/>
                <a:gd name="connsiteX9" fmla="*/ 1584356 w 2381061"/>
                <a:gd name="connsiteY9" fmla="*/ 1774479 h 2553077"/>
                <a:gd name="connsiteX10" fmla="*/ 1330859 w 2381061"/>
                <a:gd name="connsiteY10" fmla="*/ 1792586 h 2553077"/>
                <a:gd name="connsiteX11" fmla="*/ 710933 w 2381061"/>
                <a:gd name="connsiteY11" fmla="*/ 1097379 h 2553077"/>
                <a:gd name="connsiteX12" fmla="*/ 724277 w 2381061"/>
                <a:gd name="connsiteY12" fmla="*/ 841972 h 2553077"/>
                <a:gd name="connsiteX13" fmla="*/ 869132 w 2381061"/>
                <a:gd name="connsiteY13" fmla="*/ 697117 h 2553077"/>
                <a:gd name="connsiteX14" fmla="*/ 914400 w 2381061"/>
                <a:gd name="connsiteY14" fmla="*/ 425513 h 2553077"/>
                <a:gd name="connsiteX15" fmla="*/ 615635 w 2381061"/>
                <a:gd name="connsiteY15" fmla="*/ 0 h 2553077"/>
                <a:gd name="connsiteX16" fmla="*/ 289711 w 2381061"/>
                <a:gd name="connsiteY16" fmla="*/ 18107 h 2553077"/>
                <a:gd name="connsiteX0" fmla="*/ 289711 w 2381061"/>
                <a:gd name="connsiteY0" fmla="*/ 18107 h 2553077"/>
                <a:gd name="connsiteX1" fmla="*/ 45267 w 2381061"/>
                <a:gd name="connsiteY1" fmla="*/ 226336 h 2553077"/>
                <a:gd name="connsiteX2" fmla="*/ 0 w 2381061"/>
                <a:gd name="connsiteY2" fmla="*/ 778598 h 2553077"/>
                <a:gd name="connsiteX3" fmla="*/ 1638677 w 2381061"/>
                <a:gd name="connsiteY3" fmla="*/ 2553077 h 2553077"/>
                <a:gd name="connsiteX4" fmla="*/ 2073243 w 2381061"/>
                <a:gd name="connsiteY4" fmla="*/ 2544024 h 2553077"/>
                <a:gd name="connsiteX5" fmla="*/ 2317687 w 2381061"/>
                <a:gd name="connsiteY5" fmla="*/ 2326740 h 2553077"/>
                <a:gd name="connsiteX6" fmla="*/ 2381061 w 2381061"/>
                <a:gd name="connsiteY6" fmla="*/ 2009869 h 2553077"/>
                <a:gd name="connsiteX7" fmla="*/ 2027976 w 2381061"/>
                <a:gd name="connsiteY7" fmla="*/ 1656784 h 2553077"/>
                <a:gd name="connsiteX8" fmla="*/ 1702051 w 2381061"/>
                <a:gd name="connsiteY8" fmla="*/ 1683944 h 2553077"/>
                <a:gd name="connsiteX9" fmla="*/ 1584356 w 2381061"/>
                <a:gd name="connsiteY9" fmla="*/ 1774479 h 2553077"/>
                <a:gd name="connsiteX10" fmla="*/ 1330859 w 2381061"/>
                <a:gd name="connsiteY10" fmla="*/ 1792586 h 2553077"/>
                <a:gd name="connsiteX11" fmla="*/ 710933 w 2381061"/>
                <a:gd name="connsiteY11" fmla="*/ 1097379 h 2553077"/>
                <a:gd name="connsiteX12" fmla="*/ 724277 w 2381061"/>
                <a:gd name="connsiteY12" fmla="*/ 841972 h 2553077"/>
                <a:gd name="connsiteX13" fmla="*/ 869132 w 2381061"/>
                <a:gd name="connsiteY13" fmla="*/ 697117 h 2553077"/>
                <a:gd name="connsiteX14" fmla="*/ 914400 w 2381061"/>
                <a:gd name="connsiteY14" fmla="*/ 425513 h 2553077"/>
                <a:gd name="connsiteX15" fmla="*/ 615635 w 2381061"/>
                <a:gd name="connsiteY15" fmla="*/ 0 h 2553077"/>
                <a:gd name="connsiteX16" fmla="*/ 289711 w 2381061"/>
                <a:gd name="connsiteY16" fmla="*/ 18107 h 2553077"/>
                <a:gd name="connsiteX0" fmla="*/ 289711 w 2381061"/>
                <a:gd name="connsiteY0" fmla="*/ 18107 h 2553077"/>
                <a:gd name="connsiteX1" fmla="*/ 45267 w 2381061"/>
                <a:gd name="connsiteY1" fmla="*/ 226336 h 2553077"/>
                <a:gd name="connsiteX2" fmla="*/ 0 w 2381061"/>
                <a:gd name="connsiteY2" fmla="*/ 778598 h 2553077"/>
                <a:gd name="connsiteX3" fmla="*/ 1638677 w 2381061"/>
                <a:gd name="connsiteY3" fmla="*/ 2553077 h 2553077"/>
                <a:gd name="connsiteX4" fmla="*/ 2073243 w 2381061"/>
                <a:gd name="connsiteY4" fmla="*/ 2544024 h 2553077"/>
                <a:gd name="connsiteX5" fmla="*/ 2317687 w 2381061"/>
                <a:gd name="connsiteY5" fmla="*/ 2326740 h 2553077"/>
                <a:gd name="connsiteX6" fmla="*/ 2381061 w 2381061"/>
                <a:gd name="connsiteY6" fmla="*/ 2009869 h 2553077"/>
                <a:gd name="connsiteX7" fmla="*/ 2027976 w 2381061"/>
                <a:gd name="connsiteY7" fmla="*/ 1656784 h 2553077"/>
                <a:gd name="connsiteX8" fmla="*/ 1702051 w 2381061"/>
                <a:gd name="connsiteY8" fmla="*/ 1683944 h 2553077"/>
                <a:gd name="connsiteX9" fmla="*/ 1584356 w 2381061"/>
                <a:gd name="connsiteY9" fmla="*/ 1774479 h 2553077"/>
                <a:gd name="connsiteX10" fmla="*/ 1330859 w 2381061"/>
                <a:gd name="connsiteY10" fmla="*/ 1792586 h 2553077"/>
                <a:gd name="connsiteX11" fmla="*/ 710933 w 2381061"/>
                <a:gd name="connsiteY11" fmla="*/ 1097379 h 2553077"/>
                <a:gd name="connsiteX12" fmla="*/ 724277 w 2381061"/>
                <a:gd name="connsiteY12" fmla="*/ 841972 h 2553077"/>
                <a:gd name="connsiteX13" fmla="*/ 869132 w 2381061"/>
                <a:gd name="connsiteY13" fmla="*/ 697117 h 2553077"/>
                <a:gd name="connsiteX14" fmla="*/ 914400 w 2381061"/>
                <a:gd name="connsiteY14" fmla="*/ 425513 h 2553077"/>
                <a:gd name="connsiteX15" fmla="*/ 615635 w 2381061"/>
                <a:gd name="connsiteY15" fmla="*/ 0 h 2553077"/>
                <a:gd name="connsiteX16" fmla="*/ 289711 w 2381061"/>
                <a:gd name="connsiteY16" fmla="*/ 18107 h 2553077"/>
                <a:gd name="connsiteX0" fmla="*/ 289711 w 2381061"/>
                <a:gd name="connsiteY0" fmla="*/ 18107 h 2553077"/>
                <a:gd name="connsiteX1" fmla="*/ 45267 w 2381061"/>
                <a:gd name="connsiteY1" fmla="*/ 226336 h 2553077"/>
                <a:gd name="connsiteX2" fmla="*/ 0 w 2381061"/>
                <a:gd name="connsiteY2" fmla="*/ 778598 h 2553077"/>
                <a:gd name="connsiteX3" fmla="*/ 1638677 w 2381061"/>
                <a:gd name="connsiteY3" fmla="*/ 2553077 h 2553077"/>
                <a:gd name="connsiteX4" fmla="*/ 2073243 w 2381061"/>
                <a:gd name="connsiteY4" fmla="*/ 2544024 h 2553077"/>
                <a:gd name="connsiteX5" fmla="*/ 2317687 w 2381061"/>
                <a:gd name="connsiteY5" fmla="*/ 2326740 h 2553077"/>
                <a:gd name="connsiteX6" fmla="*/ 2381061 w 2381061"/>
                <a:gd name="connsiteY6" fmla="*/ 2009869 h 2553077"/>
                <a:gd name="connsiteX7" fmla="*/ 2027976 w 2381061"/>
                <a:gd name="connsiteY7" fmla="*/ 1656784 h 2553077"/>
                <a:gd name="connsiteX8" fmla="*/ 1702051 w 2381061"/>
                <a:gd name="connsiteY8" fmla="*/ 1683944 h 2553077"/>
                <a:gd name="connsiteX9" fmla="*/ 1584356 w 2381061"/>
                <a:gd name="connsiteY9" fmla="*/ 1774479 h 2553077"/>
                <a:gd name="connsiteX10" fmla="*/ 1330859 w 2381061"/>
                <a:gd name="connsiteY10" fmla="*/ 1792586 h 2553077"/>
                <a:gd name="connsiteX11" fmla="*/ 710933 w 2381061"/>
                <a:gd name="connsiteY11" fmla="*/ 1097379 h 2553077"/>
                <a:gd name="connsiteX12" fmla="*/ 724277 w 2381061"/>
                <a:gd name="connsiteY12" fmla="*/ 841972 h 2553077"/>
                <a:gd name="connsiteX13" fmla="*/ 869132 w 2381061"/>
                <a:gd name="connsiteY13" fmla="*/ 697117 h 2553077"/>
                <a:gd name="connsiteX14" fmla="*/ 914400 w 2381061"/>
                <a:gd name="connsiteY14" fmla="*/ 425513 h 2553077"/>
                <a:gd name="connsiteX15" fmla="*/ 615635 w 2381061"/>
                <a:gd name="connsiteY15" fmla="*/ 0 h 2553077"/>
                <a:gd name="connsiteX16" fmla="*/ 289711 w 2381061"/>
                <a:gd name="connsiteY16" fmla="*/ 18107 h 2553077"/>
                <a:gd name="connsiteX0" fmla="*/ 289711 w 2381061"/>
                <a:gd name="connsiteY0" fmla="*/ 18107 h 2553077"/>
                <a:gd name="connsiteX1" fmla="*/ 45267 w 2381061"/>
                <a:gd name="connsiteY1" fmla="*/ 226336 h 2553077"/>
                <a:gd name="connsiteX2" fmla="*/ 0 w 2381061"/>
                <a:gd name="connsiteY2" fmla="*/ 778598 h 2553077"/>
                <a:gd name="connsiteX3" fmla="*/ 1638677 w 2381061"/>
                <a:gd name="connsiteY3" fmla="*/ 2553077 h 2553077"/>
                <a:gd name="connsiteX4" fmla="*/ 2073243 w 2381061"/>
                <a:gd name="connsiteY4" fmla="*/ 2544024 h 2553077"/>
                <a:gd name="connsiteX5" fmla="*/ 2317687 w 2381061"/>
                <a:gd name="connsiteY5" fmla="*/ 2326740 h 2553077"/>
                <a:gd name="connsiteX6" fmla="*/ 2381061 w 2381061"/>
                <a:gd name="connsiteY6" fmla="*/ 2009869 h 2553077"/>
                <a:gd name="connsiteX7" fmla="*/ 2027976 w 2381061"/>
                <a:gd name="connsiteY7" fmla="*/ 1656784 h 2553077"/>
                <a:gd name="connsiteX8" fmla="*/ 1702051 w 2381061"/>
                <a:gd name="connsiteY8" fmla="*/ 1683944 h 2553077"/>
                <a:gd name="connsiteX9" fmla="*/ 1593881 w 2381061"/>
                <a:gd name="connsiteY9" fmla="*/ 1779242 h 2553077"/>
                <a:gd name="connsiteX10" fmla="*/ 1330859 w 2381061"/>
                <a:gd name="connsiteY10" fmla="*/ 1792586 h 2553077"/>
                <a:gd name="connsiteX11" fmla="*/ 710933 w 2381061"/>
                <a:gd name="connsiteY11" fmla="*/ 1097379 h 2553077"/>
                <a:gd name="connsiteX12" fmla="*/ 724277 w 2381061"/>
                <a:gd name="connsiteY12" fmla="*/ 841972 h 2553077"/>
                <a:gd name="connsiteX13" fmla="*/ 869132 w 2381061"/>
                <a:gd name="connsiteY13" fmla="*/ 697117 h 2553077"/>
                <a:gd name="connsiteX14" fmla="*/ 914400 w 2381061"/>
                <a:gd name="connsiteY14" fmla="*/ 425513 h 2553077"/>
                <a:gd name="connsiteX15" fmla="*/ 615635 w 2381061"/>
                <a:gd name="connsiteY15" fmla="*/ 0 h 2553077"/>
                <a:gd name="connsiteX16" fmla="*/ 289711 w 2381061"/>
                <a:gd name="connsiteY16" fmla="*/ 18107 h 2553077"/>
                <a:gd name="connsiteX0" fmla="*/ 289711 w 2381061"/>
                <a:gd name="connsiteY0" fmla="*/ 18107 h 2553077"/>
                <a:gd name="connsiteX1" fmla="*/ 45267 w 2381061"/>
                <a:gd name="connsiteY1" fmla="*/ 226336 h 2553077"/>
                <a:gd name="connsiteX2" fmla="*/ 0 w 2381061"/>
                <a:gd name="connsiteY2" fmla="*/ 778598 h 2553077"/>
                <a:gd name="connsiteX3" fmla="*/ 1638677 w 2381061"/>
                <a:gd name="connsiteY3" fmla="*/ 2553077 h 2553077"/>
                <a:gd name="connsiteX4" fmla="*/ 2073243 w 2381061"/>
                <a:gd name="connsiteY4" fmla="*/ 2544024 h 2553077"/>
                <a:gd name="connsiteX5" fmla="*/ 2317687 w 2381061"/>
                <a:gd name="connsiteY5" fmla="*/ 2326740 h 2553077"/>
                <a:gd name="connsiteX6" fmla="*/ 2381061 w 2381061"/>
                <a:gd name="connsiteY6" fmla="*/ 2009869 h 2553077"/>
                <a:gd name="connsiteX7" fmla="*/ 2027976 w 2381061"/>
                <a:gd name="connsiteY7" fmla="*/ 1656784 h 2553077"/>
                <a:gd name="connsiteX8" fmla="*/ 1702051 w 2381061"/>
                <a:gd name="connsiteY8" fmla="*/ 1683944 h 2553077"/>
                <a:gd name="connsiteX9" fmla="*/ 1593881 w 2381061"/>
                <a:gd name="connsiteY9" fmla="*/ 1779242 h 2553077"/>
                <a:gd name="connsiteX10" fmla="*/ 1330859 w 2381061"/>
                <a:gd name="connsiteY10" fmla="*/ 1792586 h 2553077"/>
                <a:gd name="connsiteX11" fmla="*/ 710933 w 2381061"/>
                <a:gd name="connsiteY11" fmla="*/ 1097379 h 2553077"/>
                <a:gd name="connsiteX12" fmla="*/ 724277 w 2381061"/>
                <a:gd name="connsiteY12" fmla="*/ 841972 h 2553077"/>
                <a:gd name="connsiteX13" fmla="*/ 869132 w 2381061"/>
                <a:gd name="connsiteY13" fmla="*/ 697117 h 2553077"/>
                <a:gd name="connsiteX14" fmla="*/ 914400 w 2381061"/>
                <a:gd name="connsiteY14" fmla="*/ 425513 h 2553077"/>
                <a:gd name="connsiteX15" fmla="*/ 615635 w 2381061"/>
                <a:gd name="connsiteY15" fmla="*/ 0 h 2553077"/>
                <a:gd name="connsiteX16" fmla="*/ 289711 w 2381061"/>
                <a:gd name="connsiteY16" fmla="*/ 18107 h 2553077"/>
                <a:gd name="connsiteX0" fmla="*/ 289711 w 2381061"/>
                <a:gd name="connsiteY0" fmla="*/ 18107 h 2553077"/>
                <a:gd name="connsiteX1" fmla="*/ 45267 w 2381061"/>
                <a:gd name="connsiteY1" fmla="*/ 226336 h 2553077"/>
                <a:gd name="connsiteX2" fmla="*/ 0 w 2381061"/>
                <a:gd name="connsiteY2" fmla="*/ 778598 h 2553077"/>
                <a:gd name="connsiteX3" fmla="*/ 1638677 w 2381061"/>
                <a:gd name="connsiteY3" fmla="*/ 2553077 h 2553077"/>
                <a:gd name="connsiteX4" fmla="*/ 2073243 w 2381061"/>
                <a:gd name="connsiteY4" fmla="*/ 2544024 h 2553077"/>
                <a:gd name="connsiteX5" fmla="*/ 2317687 w 2381061"/>
                <a:gd name="connsiteY5" fmla="*/ 2326740 h 2553077"/>
                <a:gd name="connsiteX6" fmla="*/ 2381061 w 2381061"/>
                <a:gd name="connsiteY6" fmla="*/ 2009869 h 2553077"/>
                <a:gd name="connsiteX7" fmla="*/ 2027976 w 2381061"/>
                <a:gd name="connsiteY7" fmla="*/ 1656784 h 2553077"/>
                <a:gd name="connsiteX8" fmla="*/ 1702051 w 2381061"/>
                <a:gd name="connsiteY8" fmla="*/ 1683944 h 2553077"/>
                <a:gd name="connsiteX9" fmla="*/ 1593881 w 2381061"/>
                <a:gd name="connsiteY9" fmla="*/ 1779242 h 2553077"/>
                <a:gd name="connsiteX10" fmla="*/ 1330859 w 2381061"/>
                <a:gd name="connsiteY10" fmla="*/ 1792586 h 2553077"/>
                <a:gd name="connsiteX11" fmla="*/ 710933 w 2381061"/>
                <a:gd name="connsiteY11" fmla="*/ 1097379 h 2553077"/>
                <a:gd name="connsiteX12" fmla="*/ 724277 w 2381061"/>
                <a:gd name="connsiteY12" fmla="*/ 841972 h 2553077"/>
                <a:gd name="connsiteX13" fmla="*/ 869132 w 2381061"/>
                <a:gd name="connsiteY13" fmla="*/ 697117 h 2553077"/>
                <a:gd name="connsiteX14" fmla="*/ 914400 w 2381061"/>
                <a:gd name="connsiteY14" fmla="*/ 425513 h 2553077"/>
                <a:gd name="connsiteX15" fmla="*/ 615635 w 2381061"/>
                <a:gd name="connsiteY15" fmla="*/ 0 h 2553077"/>
                <a:gd name="connsiteX16" fmla="*/ 289711 w 2381061"/>
                <a:gd name="connsiteY16" fmla="*/ 18107 h 2553077"/>
                <a:gd name="connsiteX0" fmla="*/ 289711 w 2381061"/>
                <a:gd name="connsiteY0" fmla="*/ 18107 h 2553077"/>
                <a:gd name="connsiteX1" fmla="*/ 45267 w 2381061"/>
                <a:gd name="connsiteY1" fmla="*/ 226336 h 2553077"/>
                <a:gd name="connsiteX2" fmla="*/ 0 w 2381061"/>
                <a:gd name="connsiteY2" fmla="*/ 778598 h 2553077"/>
                <a:gd name="connsiteX3" fmla="*/ 1638677 w 2381061"/>
                <a:gd name="connsiteY3" fmla="*/ 2553077 h 2553077"/>
                <a:gd name="connsiteX4" fmla="*/ 2073243 w 2381061"/>
                <a:gd name="connsiteY4" fmla="*/ 2544024 h 2553077"/>
                <a:gd name="connsiteX5" fmla="*/ 2317687 w 2381061"/>
                <a:gd name="connsiteY5" fmla="*/ 2326740 h 2553077"/>
                <a:gd name="connsiteX6" fmla="*/ 2381061 w 2381061"/>
                <a:gd name="connsiteY6" fmla="*/ 2009869 h 2553077"/>
                <a:gd name="connsiteX7" fmla="*/ 2013689 w 2381061"/>
                <a:gd name="connsiteY7" fmla="*/ 1663927 h 2553077"/>
                <a:gd name="connsiteX8" fmla="*/ 1702051 w 2381061"/>
                <a:gd name="connsiteY8" fmla="*/ 1683944 h 2553077"/>
                <a:gd name="connsiteX9" fmla="*/ 1593881 w 2381061"/>
                <a:gd name="connsiteY9" fmla="*/ 1779242 h 2553077"/>
                <a:gd name="connsiteX10" fmla="*/ 1330859 w 2381061"/>
                <a:gd name="connsiteY10" fmla="*/ 1792586 h 2553077"/>
                <a:gd name="connsiteX11" fmla="*/ 710933 w 2381061"/>
                <a:gd name="connsiteY11" fmla="*/ 1097379 h 2553077"/>
                <a:gd name="connsiteX12" fmla="*/ 724277 w 2381061"/>
                <a:gd name="connsiteY12" fmla="*/ 841972 h 2553077"/>
                <a:gd name="connsiteX13" fmla="*/ 869132 w 2381061"/>
                <a:gd name="connsiteY13" fmla="*/ 697117 h 2553077"/>
                <a:gd name="connsiteX14" fmla="*/ 914400 w 2381061"/>
                <a:gd name="connsiteY14" fmla="*/ 425513 h 2553077"/>
                <a:gd name="connsiteX15" fmla="*/ 615635 w 2381061"/>
                <a:gd name="connsiteY15" fmla="*/ 0 h 2553077"/>
                <a:gd name="connsiteX16" fmla="*/ 289711 w 2381061"/>
                <a:gd name="connsiteY16" fmla="*/ 18107 h 2553077"/>
                <a:gd name="connsiteX0" fmla="*/ 289711 w 2381061"/>
                <a:gd name="connsiteY0" fmla="*/ 18107 h 2553077"/>
                <a:gd name="connsiteX1" fmla="*/ 45267 w 2381061"/>
                <a:gd name="connsiteY1" fmla="*/ 226336 h 2553077"/>
                <a:gd name="connsiteX2" fmla="*/ 0 w 2381061"/>
                <a:gd name="connsiteY2" fmla="*/ 778598 h 2553077"/>
                <a:gd name="connsiteX3" fmla="*/ 1638677 w 2381061"/>
                <a:gd name="connsiteY3" fmla="*/ 2553077 h 2553077"/>
                <a:gd name="connsiteX4" fmla="*/ 2073243 w 2381061"/>
                <a:gd name="connsiteY4" fmla="*/ 2544024 h 2553077"/>
                <a:gd name="connsiteX5" fmla="*/ 2317687 w 2381061"/>
                <a:gd name="connsiteY5" fmla="*/ 2326740 h 2553077"/>
                <a:gd name="connsiteX6" fmla="*/ 2381061 w 2381061"/>
                <a:gd name="connsiteY6" fmla="*/ 2009869 h 2553077"/>
                <a:gd name="connsiteX7" fmla="*/ 2013689 w 2381061"/>
                <a:gd name="connsiteY7" fmla="*/ 1663927 h 2553077"/>
                <a:gd name="connsiteX8" fmla="*/ 1702051 w 2381061"/>
                <a:gd name="connsiteY8" fmla="*/ 1683944 h 2553077"/>
                <a:gd name="connsiteX9" fmla="*/ 1593881 w 2381061"/>
                <a:gd name="connsiteY9" fmla="*/ 1779242 h 2553077"/>
                <a:gd name="connsiteX10" fmla="*/ 1330859 w 2381061"/>
                <a:gd name="connsiteY10" fmla="*/ 1792586 h 2553077"/>
                <a:gd name="connsiteX11" fmla="*/ 710933 w 2381061"/>
                <a:gd name="connsiteY11" fmla="*/ 1097379 h 2553077"/>
                <a:gd name="connsiteX12" fmla="*/ 724277 w 2381061"/>
                <a:gd name="connsiteY12" fmla="*/ 841972 h 2553077"/>
                <a:gd name="connsiteX13" fmla="*/ 869132 w 2381061"/>
                <a:gd name="connsiteY13" fmla="*/ 697117 h 2553077"/>
                <a:gd name="connsiteX14" fmla="*/ 914400 w 2381061"/>
                <a:gd name="connsiteY14" fmla="*/ 425513 h 2553077"/>
                <a:gd name="connsiteX15" fmla="*/ 615635 w 2381061"/>
                <a:gd name="connsiteY15" fmla="*/ 0 h 2553077"/>
                <a:gd name="connsiteX16" fmla="*/ 289711 w 2381061"/>
                <a:gd name="connsiteY16" fmla="*/ 18107 h 2553077"/>
                <a:gd name="connsiteX0" fmla="*/ 289711 w 2381061"/>
                <a:gd name="connsiteY0" fmla="*/ 18107 h 2553077"/>
                <a:gd name="connsiteX1" fmla="*/ 45267 w 2381061"/>
                <a:gd name="connsiteY1" fmla="*/ 226336 h 2553077"/>
                <a:gd name="connsiteX2" fmla="*/ 0 w 2381061"/>
                <a:gd name="connsiteY2" fmla="*/ 778598 h 2553077"/>
                <a:gd name="connsiteX3" fmla="*/ 1638677 w 2381061"/>
                <a:gd name="connsiteY3" fmla="*/ 2553077 h 2553077"/>
                <a:gd name="connsiteX4" fmla="*/ 2073243 w 2381061"/>
                <a:gd name="connsiteY4" fmla="*/ 2544024 h 2553077"/>
                <a:gd name="connsiteX5" fmla="*/ 2317687 w 2381061"/>
                <a:gd name="connsiteY5" fmla="*/ 2326740 h 2553077"/>
                <a:gd name="connsiteX6" fmla="*/ 2381061 w 2381061"/>
                <a:gd name="connsiteY6" fmla="*/ 2009869 h 2553077"/>
                <a:gd name="connsiteX7" fmla="*/ 2013689 w 2381061"/>
                <a:gd name="connsiteY7" fmla="*/ 1663927 h 2553077"/>
                <a:gd name="connsiteX8" fmla="*/ 1702051 w 2381061"/>
                <a:gd name="connsiteY8" fmla="*/ 1683944 h 2553077"/>
                <a:gd name="connsiteX9" fmla="*/ 1593881 w 2381061"/>
                <a:gd name="connsiteY9" fmla="*/ 1779242 h 2553077"/>
                <a:gd name="connsiteX10" fmla="*/ 1330859 w 2381061"/>
                <a:gd name="connsiteY10" fmla="*/ 1792586 h 2553077"/>
                <a:gd name="connsiteX11" fmla="*/ 710933 w 2381061"/>
                <a:gd name="connsiteY11" fmla="*/ 1097379 h 2553077"/>
                <a:gd name="connsiteX12" fmla="*/ 724277 w 2381061"/>
                <a:gd name="connsiteY12" fmla="*/ 841972 h 2553077"/>
                <a:gd name="connsiteX13" fmla="*/ 869132 w 2381061"/>
                <a:gd name="connsiteY13" fmla="*/ 697117 h 2553077"/>
                <a:gd name="connsiteX14" fmla="*/ 914400 w 2381061"/>
                <a:gd name="connsiteY14" fmla="*/ 425513 h 2553077"/>
                <a:gd name="connsiteX15" fmla="*/ 615635 w 2381061"/>
                <a:gd name="connsiteY15" fmla="*/ 0 h 2553077"/>
                <a:gd name="connsiteX16" fmla="*/ 289711 w 2381061"/>
                <a:gd name="connsiteY16" fmla="*/ 18107 h 2553077"/>
                <a:gd name="connsiteX0" fmla="*/ 289711 w 2381061"/>
                <a:gd name="connsiteY0" fmla="*/ 18107 h 2553077"/>
                <a:gd name="connsiteX1" fmla="*/ 45267 w 2381061"/>
                <a:gd name="connsiteY1" fmla="*/ 226336 h 2553077"/>
                <a:gd name="connsiteX2" fmla="*/ 0 w 2381061"/>
                <a:gd name="connsiteY2" fmla="*/ 778598 h 2553077"/>
                <a:gd name="connsiteX3" fmla="*/ 1638677 w 2381061"/>
                <a:gd name="connsiteY3" fmla="*/ 2553077 h 2553077"/>
                <a:gd name="connsiteX4" fmla="*/ 2073243 w 2381061"/>
                <a:gd name="connsiteY4" fmla="*/ 2544024 h 2553077"/>
                <a:gd name="connsiteX5" fmla="*/ 2317687 w 2381061"/>
                <a:gd name="connsiteY5" fmla="*/ 2326740 h 2553077"/>
                <a:gd name="connsiteX6" fmla="*/ 2381061 w 2381061"/>
                <a:gd name="connsiteY6" fmla="*/ 2009869 h 2553077"/>
                <a:gd name="connsiteX7" fmla="*/ 2013689 w 2381061"/>
                <a:gd name="connsiteY7" fmla="*/ 1663927 h 2553077"/>
                <a:gd name="connsiteX8" fmla="*/ 1702051 w 2381061"/>
                <a:gd name="connsiteY8" fmla="*/ 1683944 h 2553077"/>
                <a:gd name="connsiteX9" fmla="*/ 1593881 w 2381061"/>
                <a:gd name="connsiteY9" fmla="*/ 1779242 h 2553077"/>
                <a:gd name="connsiteX10" fmla="*/ 1330859 w 2381061"/>
                <a:gd name="connsiteY10" fmla="*/ 1792586 h 2553077"/>
                <a:gd name="connsiteX11" fmla="*/ 710933 w 2381061"/>
                <a:gd name="connsiteY11" fmla="*/ 1097379 h 2553077"/>
                <a:gd name="connsiteX12" fmla="*/ 724277 w 2381061"/>
                <a:gd name="connsiteY12" fmla="*/ 841972 h 2553077"/>
                <a:gd name="connsiteX13" fmla="*/ 869132 w 2381061"/>
                <a:gd name="connsiteY13" fmla="*/ 697117 h 2553077"/>
                <a:gd name="connsiteX14" fmla="*/ 914400 w 2381061"/>
                <a:gd name="connsiteY14" fmla="*/ 425513 h 2553077"/>
                <a:gd name="connsiteX15" fmla="*/ 615635 w 2381061"/>
                <a:gd name="connsiteY15" fmla="*/ 0 h 2553077"/>
                <a:gd name="connsiteX16" fmla="*/ 289711 w 2381061"/>
                <a:gd name="connsiteY16" fmla="*/ 18107 h 2553077"/>
                <a:gd name="connsiteX0" fmla="*/ 289711 w 2381061"/>
                <a:gd name="connsiteY0" fmla="*/ 18107 h 2553077"/>
                <a:gd name="connsiteX1" fmla="*/ 45267 w 2381061"/>
                <a:gd name="connsiteY1" fmla="*/ 226336 h 2553077"/>
                <a:gd name="connsiteX2" fmla="*/ 0 w 2381061"/>
                <a:gd name="connsiteY2" fmla="*/ 778598 h 2553077"/>
                <a:gd name="connsiteX3" fmla="*/ 1638677 w 2381061"/>
                <a:gd name="connsiteY3" fmla="*/ 2553077 h 2553077"/>
                <a:gd name="connsiteX4" fmla="*/ 2073243 w 2381061"/>
                <a:gd name="connsiteY4" fmla="*/ 2544024 h 2553077"/>
                <a:gd name="connsiteX5" fmla="*/ 2317687 w 2381061"/>
                <a:gd name="connsiteY5" fmla="*/ 2326740 h 2553077"/>
                <a:gd name="connsiteX6" fmla="*/ 2381061 w 2381061"/>
                <a:gd name="connsiteY6" fmla="*/ 2009869 h 2553077"/>
                <a:gd name="connsiteX7" fmla="*/ 2013689 w 2381061"/>
                <a:gd name="connsiteY7" fmla="*/ 1663927 h 2553077"/>
                <a:gd name="connsiteX8" fmla="*/ 1702051 w 2381061"/>
                <a:gd name="connsiteY8" fmla="*/ 1683944 h 2553077"/>
                <a:gd name="connsiteX9" fmla="*/ 1593881 w 2381061"/>
                <a:gd name="connsiteY9" fmla="*/ 1779242 h 2553077"/>
                <a:gd name="connsiteX10" fmla="*/ 1330859 w 2381061"/>
                <a:gd name="connsiteY10" fmla="*/ 1792586 h 2553077"/>
                <a:gd name="connsiteX11" fmla="*/ 710933 w 2381061"/>
                <a:gd name="connsiteY11" fmla="*/ 1097379 h 2553077"/>
                <a:gd name="connsiteX12" fmla="*/ 724277 w 2381061"/>
                <a:gd name="connsiteY12" fmla="*/ 841972 h 2553077"/>
                <a:gd name="connsiteX13" fmla="*/ 869132 w 2381061"/>
                <a:gd name="connsiteY13" fmla="*/ 697117 h 2553077"/>
                <a:gd name="connsiteX14" fmla="*/ 914400 w 2381061"/>
                <a:gd name="connsiteY14" fmla="*/ 425513 h 2553077"/>
                <a:gd name="connsiteX15" fmla="*/ 615635 w 2381061"/>
                <a:gd name="connsiteY15" fmla="*/ 0 h 2553077"/>
                <a:gd name="connsiteX16" fmla="*/ 289711 w 2381061"/>
                <a:gd name="connsiteY16" fmla="*/ 18107 h 2553077"/>
                <a:gd name="connsiteX0" fmla="*/ 289711 w 2395841"/>
                <a:gd name="connsiteY0" fmla="*/ 18107 h 2553077"/>
                <a:gd name="connsiteX1" fmla="*/ 45267 w 2395841"/>
                <a:gd name="connsiteY1" fmla="*/ 226336 h 2553077"/>
                <a:gd name="connsiteX2" fmla="*/ 0 w 2395841"/>
                <a:gd name="connsiteY2" fmla="*/ 778598 h 2553077"/>
                <a:gd name="connsiteX3" fmla="*/ 1638677 w 2395841"/>
                <a:gd name="connsiteY3" fmla="*/ 2553077 h 2553077"/>
                <a:gd name="connsiteX4" fmla="*/ 2073243 w 2395841"/>
                <a:gd name="connsiteY4" fmla="*/ 2544024 h 2553077"/>
                <a:gd name="connsiteX5" fmla="*/ 2317687 w 2395841"/>
                <a:gd name="connsiteY5" fmla="*/ 2326740 h 2553077"/>
                <a:gd name="connsiteX6" fmla="*/ 2381061 w 2395841"/>
                <a:gd name="connsiteY6" fmla="*/ 2009869 h 2553077"/>
                <a:gd name="connsiteX7" fmla="*/ 2013689 w 2395841"/>
                <a:gd name="connsiteY7" fmla="*/ 1663927 h 2553077"/>
                <a:gd name="connsiteX8" fmla="*/ 1702051 w 2395841"/>
                <a:gd name="connsiteY8" fmla="*/ 1683944 h 2553077"/>
                <a:gd name="connsiteX9" fmla="*/ 1593881 w 2395841"/>
                <a:gd name="connsiteY9" fmla="*/ 1779242 h 2553077"/>
                <a:gd name="connsiteX10" fmla="*/ 1330859 w 2395841"/>
                <a:gd name="connsiteY10" fmla="*/ 1792586 h 2553077"/>
                <a:gd name="connsiteX11" fmla="*/ 710933 w 2395841"/>
                <a:gd name="connsiteY11" fmla="*/ 1097379 h 2553077"/>
                <a:gd name="connsiteX12" fmla="*/ 724277 w 2395841"/>
                <a:gd name="connsiteY12" fmla="*/ 841972 h 2553077"/>
                <a:gd name="connsiteX13" fmla="*/ 869132 w 2395841"/>
                <a:gd name="connsiteY13" fmla="*/ 697117 h 2553077"/>
                <a:gd name="connsiteX14" fmla="*/ 914400 w 2395841"/>
                <a:gd name="connsiteY14" fmla="*/ 425513 h 2553077"/>
                <a:gd name="connsiteX15" fmla="*/ 615635 w 2395841"/>
                <a:gd name="connsiteY15" fmla="*/ 0 h 2553077"/>
                <a:gd name="connsiteX16" fmla="*/ 289711 w 2395841"/>
                <a:gd name="connsiteY16" fmla="*/ 18107 h 2553077"/>
                <a:gd name="connsiteX0" fmla="*/ 289711 w 2408811"/>
                <a:gd name="connsiteY0" fmla="*/ 18107 h 2553077"/>
                <a:gd name="connsiteX1" fmla="*/ 45267 w 2408811"/>
                <a:gd name="connsiteY1" fmla="*/ 226336 h 2553077"/>
                <a:gd name="connsiteX2" fmla="*/ 0 w 2408811"/>
                <a:gd name="connsiteY2" fmla="*/ 778598 h 2553077"/>
                <a:gd name="connsiteX3" fmla="*/ 1638677 w 2408811"/>
                <a:gd name="connsiteY3" fmla="*/ 2553077 h 2553077"/>
                <a:gd name="connsiteX4" fmla="*/ 2073243 w 2408811"/>
                <a:gd name="connsiteY4" fmla="*/ 2544024 h 2553077"/>
                <a:gd name="connsiteX5" fmla="*/ 2317687 w 2408811"/>
                <a:gd name="connsiteY5" fmla="*/ 2326740 h 2553077"/>
                <a:gd name="connsiteX6" fmla="*/ 2381061 w 2408811"/>
                <a:gd name="connsiteY6" fmla="*/ 2009869 h 2553077"/>
                <a:gd name="connsiteX7" fmla="*/ 2013689 w 2408811"/>
                <a:gd name="connsiteY7" fmla="*/ 1663927 h 2553077"/>
                <a:gd name="connsiteX8" fmla="*/ 1702051 w 2408811"/>
                <a:gd name="connsiteY8" fmla="*/ 1683944 h 2553077"/>
                <a:gd name="connsiteX9" fmla="*/ 1593881 w 2408811"/>
                <a:gd name="connsiteY9" fmla="*/ 1779242 h 2553077"/>
                <a:gd name="connsiteX10" fmla="*/ 1330859 w 2408811"/>
                <a:gd name="connsiteY10" fmla="*/ 1792586 h 2553077"/>
                <a:gd name="connsiteX11" fmla="*/ 710933 w 2408811"/>
                <a:gd name="connsiteY11" fmla="*/ 1097379 h 2553077"/>
                <a:gd name="connsiteX12" fmla="*/ 724277 w 2408811"/>
                <a:gd name="connsiteY12" fmla="*/ 841972 h 2553077"/>
                <a:gd name="connsiteX13" fmla="*/ 869132 w 2408811"/>
                <a:gd name="connsiteY13" fmla="*/ 697117 h 2553077"/>
                <a:gd name="connsiteX14" fmla="*/ 914400 w 2408811"/>
                <a:gd name="connsiteY14" fmla="*/ 425513 h 2553077"/>
                <a:gd name="connsiteX15" fmla="*/ 615635 w 2408811"/>
                <a:gd name="connsiteY15" fmla="*/ 0 h 2553077"/>
                <a:gd name="connsiteX16" fmla="*/ 289711 w 2408811"/>
                <a:gd name="connsiteY16" fmla="*/ 18107 h 2553077"/>
                <a:gd name="connsiteX0" fmla="*/ 289711 w 2408811"/>
                <a:gd name="connsiteY0" fmla="*/ 18107 h 2553077"/>
                <a:gd name="connsiteX1" fmla="*/ 45267 w 2408811"/>
                <a:gd name="connsiteY1" fmla="*/ 226336 h 2553077"/>
                <a:gd name="connsiteX2" fmla="*/ 0 w 2408811"/>
                <a:gd name="connsiteY2" fmla="*/ 778598 h 2553077"/>
                <a:gd name="connsiteX3" fmla="*/ 1638677 w 2408811"/>
                <a:gd name="connsiteY3" fmla="*/ 2553077 h 2553077"/>
                <a:gd name="connsiteX4" fmla="*/ 2073243 w 2408811"/>
                <a:gd name="connsiteY4" fmla="*/ 2544024 h 2553077"/>
                <a:gd name="connsiteX5" fmla="*/ 2317687 w 2408811"/>
                <a:gd name="connsiteY5" fmla="*/ 2326740 h 2553077"/>
                <a:gd name="connsiteX6" fmla="*/ 2381061 w 2408811"/>
                <a:gd name="connsiteY6" fmla="*/ 2009869 h 2553077"/>
                <a:gd name="connsiteX7" fmla="*/ 2013689 w 2408811"/>
                <a:gd name="connsiteY7" fmla="*/ 1663927 h 2553077"/>
                <a:gd name="connsiteX8" fmla="*/ 1702051 w 2408811"/>
                <a:gd name="connsiteY8" fmla="*/ 1683944 h 2553077"/>
                <a:gd name="connsiteX9" fmla="*/ 1593881 w 2408811"/>
                <a:gd name="connsiteY9" fmla="*/ 1779242 h 2553077"/>
                <a:gd name="connsiteX10" fmla="*/ 1330859 w 2408811"/>
                <a:gd name="connsiteY10" fmla="*/ 1792586 h 2553077"/>
                <a:gd name="connsiteX11" fmla="*/ 710933 w 2408811"/>
                <a:gd name="connsiteY11" fmla="*/ 1097379 h 2553077"/>
                <a:gd name="connsiteX12" fmla="*/ 724277 w 2408811"/>
                <a:gd name="connsiteY12" fmla="*/ 841972 h 2553077"/>
                <a:gd name="connsiteX13" fmla="*/ 869132 w 2408811"/>
                <a:gd name="connsiteY13" fmla="*/ 697117 h 2553077"/>
                <a:gd name="connsiteX14" fmla="*/ 914400 w 2408811"/>
                <a:gd name="connsiteY14" fmla="*/ 425513 h 2553077"/>
                <a:gd name="connsiteX15" fmla="*/ 615635 w 2408811"/>
                <a:gd name="connsiteY15" fmla="*/ 0 h 2553077"/>
                <a:gd name="connsiteX16" fmla="*/ 289711 w 2408811"/>
                <a:gd name="connsiteY16" fmla="*/ 18107 h 2553077"/>
                <a:gd name="connsiteX0" fmla="*/ 289711 w 2408811"/>
                <a:gd name="connsiteY0" fmla="*/ 18107 h 2570459"/>
                <a:gd name="connsiteX1" fmla="*/ 45267 w 2408811"/>
                <a:gd name="connsiteY1" fmla="*/ 226336 h 2570459"/>
                <a:gd name="connsiteX2" fmla="*/ 0 w 2408811"/>
                <a:gd name="connsiteY2" fmla="*/ 778598 h 2570459"/>
                <a:gd name="connsiteX3" fmla="*/ 1638677 w 2408811"/>
                <a:gd name="connsiteY3" fmla="*/ 2553077 h 2570459"/>
                <a:gd name="connsiteX4" fmla="*/ 2073243 w 2408811"/>
                <a:gd name="connsiteY4" fmla="*/ 2544024 h 2570459"/>
                <a:gd name="connsiteX5" fmla="*/ 2317687 w 2408811"/>
                <a:gd name="connsiteY5" fmla="*/ 2326740 h 2570459"/>
                <a:gd name="connsiteX6" fmla="*/ 2381061 w 2408811"/>
                <a:gd name="connsiteY6" fmla="*/ 2009869 h 2570459"/>
                <a:gd name="connsiteX7" fmla="*/ 2013689 w 2408811"/>
                <a:gd name="connsiteY7" fmla="*/ 1663927 h 2570459"/>
                <a:gd name="connsiteX8" fmla="*/ 1702051 w 2408811"/>
                <a:gd name="connsiteY8" fmla="*/ 1683944 h 2570459"/>
                <a:gd name="connsiteX9" fmla="*/ 1593881 w 2408811"/>
                <a:gd name="connsiteY9" fmla="*/ 1779242 h 2570459"/>
                <a:gd name="connsiteX10" fmla="*/ 1330859 w 2408811"/>
                <a:gd name="connsiteY10" fmla="*/ 1792586 h 2570459"/>
                <a:gd name="connsiteX11" fmla="*/ 710933 w 2408811"/>
                <a:gd name="connsiteY11" fmla="*/ 1097379 h 2570459"/>
                <a:gd name="connsiteX12" fmla="*/ 724277 w 2408811"/>
                <a:gd name="connsiteY12" fmla="*/ 841972 h 2570459"/>
                <a:gd name="connsiteX13" fmla="*/ 869132 w 2408811"/>
                <a:gd name="connsiteY13" fmla="*/ 697117 h 2570459"/>
                <a:gd name="connsiteX14" fmla="*/ 914400 w 2408811"/>
                <a:gd name="connsiteY14" fmla="*/ 425513 h 2570459"/>
                <a:gd name="connsiteX15" fmla="*/ 615635 w 2408811"/>
                <a:gd name="connsiteY15" fmla="*/ 0 h 2570459"/>
                <a:gd name="connsiteX16" fmla="*/ 289711 w 2408811"/>
                <a:gd name="connsiteY16" fmla="*/ 18107 h 2570459"/>
                <a:gd name="connsiteX0" fmla="*/ 289711 w 2408811"/>
                <a:gd name="connsiteY0" fmla="*/ 18107 h 2585185"/>
                <a:gd name="connsiteX1" fmla="*/ 45267 w 2408811"/>
                <a:gd name="connsiteY1" fmla="*/ 226336 h 2585185"/>
                <a:gd name="connsiteX2" fmla="*/ 0 w 2408811"/>
                <a:gd name="connsiteY2" fmla="*/ 778598 h 2585185"/>
                <a:gd name="connsiteX3" fmla="*/ 1638677 w 2408811"/>
                <a:gd name="connsiteY3" fmla="*/ 2553077 h 2585185"/>
                <a:gd name="connsiteX4" fmla="*/ 2073243 w 2408811"/>
                <a:gd name="connsiteY4" fmla="*/ 2544024 h 2585185"/>
                <a:gd name="connsiteX5" fmla="*/ 2317687 w 2408811"/>
                <a:gd name="connsiteY5" fmla="*/ 2326740 h 2585185"/>
                <a:gd name="connsiteX6" fmla="*/ 2381061 w 2408811"/>
                <a:gd name="connsiteY6" fmla="*/ 2009869 h 2585185"/>
                <a:gd name="connsiteX7" fmla="*/ 2013689 w 2408811"/>
                <a:gd name="connsiteY7" fmla="*/ 1663927 h 2585185"/>
                <a:gd name="connsiteX8" fmla="*/ 1702051 w 2408811"/>
                <a:gd name="connsiteY8" fmla="*/ 1683944 h 2585185"/>
                <a:gd name="connsiteX9" fmla="*/ 1593881 w 2408811"/>
                <a:gd name="connsiteY9" fmla="*/ 1779242 h 2585185"/>
                <a:gd name="connsiteX10" fmla="*/ 1330859 w 2408811"/>
                <a:gd name="connsiteY10" fmla="*/ 1792586 h 2585185"/>
                <a:gd name="connsiteX11" fmla="*/ 710933 w 2408811"/>
                <a:gd name="connsiteY11" fmla="*/ 1097379 h 2585185"/>
                <a:gd name="connsiteX12" fmla="*/ 724277 w 2408811"/>
                <a:gd name="connsiteY12" fmla="*/ 841972 h 2585185"/>
                <a:gd name="connsiteX13" fmla="*/ 869132 w 2408811"/>
                <a:gd name="connsiteY13" fmla="*/ 697117 h 2585185"/>
                <a:gd name="connsiteX14" fmla="*/ 914400 w 2408811"/>
                <a:gd name="connsiteY14" fmla="*/ 425513 h 2585185"/>
                <a:gd name="connsiteX15" fmla="*/ 615635 w 2408811"/>
                <a:gd name="connsiteY15" fmla="*/ 0 h 2585185"/>
                <a:gd name="connsiteX16" fmla="*/ 289711 w 2408811"/>
                <a:gd name="connsiteY16" fmla="*/ 18107 h 2585185"/>
                <a:gd name="connsiteX0" fmla="*/ 289711 w 2408811"/>
                <a:gd name="connsiteY0" fmla="*/ 18107 h 2585185"/>
                <a:gd name="connsiteX1" fmla="*/ 45267 w 2408811"/>
                <a:gd name="connsiteY1" fmla="*/ 226336 h 2585185"/>
                <a:gd name="connsiteX2" fmla="*/ 0 w 2408811"/>
                <a:gd name="connsiteY2" fmla="*/ 778598 h 2585185"/>
                <a:gd name="connsiteX3" fmla="*/ 1638677 w 2408811"/>
                <a:gd name="connsiteY3" fmla="*/ 2553077 h 2585185"/>
                <a:gd name="connsiteX4" fmla="*/ 2073243 w 2408811"/>
                <a:gd name="connsiteY4" fmla="*/ 2544024 h 2585185"/>
                <a:gd name="connsiteX5" fmla="*/ 2317687 w 2408811"/>
                <a:gd name="connsiteY5" fmla="*/ 2326740 h 2585185"/>
                <a:gd name="connsiteX6" fmla="*/ 2381061 w 2408811"/>
                <a:gd name="connsiteY6" fmla="*/ 2009869 h 2585185"/>
                <a:gd name="connsiteX7" fmla="*/ 2013689 w 2408811"/>
                <a:gd name="connsiteY7" fmla="*/ 1663927 h 2585185"/>
                <a:gd name="connsiteX8" fmla="*/ 1702051 w 2408811"/>
                <a:gd name="connsiteY8" fmla="*/ 1683944 h 2585185"/>
                <a:gd name="connsiteX9" fmla="*/ 1593881 w 2408811"/>
                <a:gd name="connsiteY9" fmla="*/ 1779242 h 2585185"/>
                <a:gd name="connsiteX10" fmla="*/ 1330859 w 2408811"/>
                <a:gd name="connsiteY10" fmla="*/ 1792586 h 2585185"/>
                <a:gd name="connsiteX11" fmla="*/ 710933 w 2408811"/>
                <a:gd name="connsiteY11" fmla="*/ 1097379 h 2585185"/>
                <a:gd name="connsiteX12" fmla="*/ 724277 w 2408811"/>
                <a:gd name="connsiteY12" fmla="*/ 841972 h 2585185"/>
                <a:gd name="connsiteX13" fmla="*/ 869132 w 2408811"/>
                <a:gd name="connsiteY13" fmla="*/ 697117 h 2585185"/>
                <a:gd name="connsiteX14" fmla="*/ 914400 w 2408811"/>
                <a:gd name="connsiteY14" fmla="*/ 425513 h 2585185"/>
                <a:gd name="connsiteX15" fmla="*/ 615635 w 2408811"/>
                <a:gd name="connsiteY15" fmla="*/ 0 h 2585185"/>
                <a:gd name="connsiteX16" fmla="*/ 289711 w 2408811"/>
                <a:gd name="connsiteY16" fmla="*/ 18107 h 2585185"/>
                <a:gd name="connsiteX0" fmla="*/ 289711 w 2408811"/>
                <a:gd name="connsiteY0" fmla="*/ 18107 h 2585185"/>
                <a:gd name="connsiteX1" fmla="*/ 45267 w 2408811"/>
                <a:gd name="connsiteY1" fmla="*/ 226336 h 2585185"/>
                <a:gd name="connsiteX2" fmla="*/ 0 w 2408811"/>
                <a:gd name="connsiteY2" fmla="*/ 778598 h 2585185"/>
                <a:gd name="connsiteX3" fmla="*/ 1638677 w 2408811"/>
                <a:gd name="connsiteY3" fmla="*/ 2553077 h 2585185"/>
                <a:gd name="connsiteX4" fmla="*/ 2073243 w 2408811"/>
                <a:gd name="connsiteY4" fmla="*/ 2544024 h 2585185"/>
                <a:gd name="connsiteX5" fmla="*/ 2317687 w 2408811"/>
                <a:gd name="connsiteY5" fmla="*/ 2326740 h 2585185"/>
                <a:gd name="connsiteX6" fmla="*/ 2381061 w 2408811"/>
                <a:gd name="connsiteY6" fmla="*/ 2009869 h 2585185"/>
                <a:gd name="connsiteX7" fmla="*/ 2013689 w 2408811"/>
                <a:gd name="connsiteY7" fmla="*/ 1663927 h 2585185"/>
                <a:gd name="connsiteX8" fmla="*/ 1702051 w 2408811"/>
                <a:gd name="connsiteY8" fmla="*/ 1683944 h 2585185"/>
                <a:gd name="connsiteX9" fmla="*/ 1593881 w 2408811"/>
                <a:gd name="connsiteY9" fmla="*/ 1779242 h 2585185"/>
                <a:gd name="connsiteX10" fmla="*/ 1330859 w 2408811"/>
                <a:gd name="connsiteY10" fmla="*/ 1792586 h 2585185"/>
                <a:gd name="connsiteX11" fmla="*/ 710933 w 2408811"/>
                <a:gd name="connsiteY11" fmla="*/ 1097379 h 2585185"/>
                <a:gd name="connsiteX12" fmla="*/ 724277 w 2408811"/>
                <a:gd name="connsiteY12" fmla="*/ 841972 h 2585185"/>
                <a:gd name="connsiteX13" fmla="*/ 869132 w 2408811"/>
                <a:gd name="connsiteY13" fmla="*/ 697117 h 2585185"/>
                <a:gd name="connsiteX14" fmla="*/ 914400 w 2408811"/>
                <a:gd name="connsiteY14" fmla="*/ 425513 h 2585185"/>
                <a:gd name="connsiteX15" fmla="*/ 615635 w 2408811"/>
                <a:gd name="connsiteY15" fmla="*/ 0 h 2585185"/>
                <a:gd name="connsiteX16" fmla="*/ 289711 w 2408811"/>
                <a:gd name="connsiteY16" fmla="*/ 18107 h 2585185"/>
                <a:gd name="connsiteX0" fmla="*/ 312550 w 2431650"/>
                <a:gd name="connsiteY0" fmla="*/ 18107 h 2585185"/>
                <a:gd name="connsiteX1" fmla="*/ 68106 w 2431650"/>
                <a:gd name="connsiteY1" fmla="*/ 226336 h 2585185"/>
                <a:gd name="connsiteX2" fmla="*/ 22839 w 2431650"/>
                <a:gd name="connsiteY2" fmla="*/ 778598 h 2585185"/>
                <a:gd name="connsiteX3" fmla="*/ 1661516 w 2431650"/>
                <a:gd name="connsiteY3" fmla="*/ 2553077 h 2585185"/>
                <a:gd name="connsiteX4" fmla="*/ 2096082 w 2431650"/>
                <a:gd name="connsiteY4" fmla="*/ 2544024 h 2585185"/>
                <a:gd name="connsiteX5" fmla="*/ 2340526 w 2431650"/>
                <a:gd name="connsiteY5" fmla="*/ 2326740 h 2585185"/>
                <a:gd name="connsiteX6" fmla="*/ 2403900 w 2431650"/>
                <a:gd name="connsiteY6" fmla="*/ 2009869 h 2585185"/>
                <a:gd name="connsiteX7" fmla="*/ 2036528 w 2431650"/>
                <a:gd name="connsiteY7" fmla="*/ 1663927 h 2585185"/>
                <a:gd name="connsiteX8" fmla="*/ 1724890 w 2431650"/>
                <a:gd name="connsiteY8" fmla="*/ 1683944 h 2585185"/>
                <a:gd name="connsiteX9" fmla="*/ 1616720 w 2431650"/>
                <a:gd name="connsiteY9" fmla="*/ 1779242 h 2585185"/>
                <a:gd name="connsiteX10" fmla="*/ 1353698 w 2431650"/>
                <a:gd name="connsiteY10" fmla="*/ 1792586 h 2585185"/>
                <a:gd name="connsiteX11" fmla="*/ 733772 w 2431650"/>
                <a:gd name="connsiteY11" fmla="*/ 1097379 h 2585185"/>
                <a:gd name="connsiteX12" fmla="*/ 747116 w 2431650"/>
                <a:gd name="connsiteY12" fmla="*/ 841972 h 2585185"/>
                <a:gd name="connsiteX13" fmla="*/ 891971 w 2431650"/>
                <a:gd name="connsiteY13" fmla="*/ 697117 h 2585185"/>
                <a:gd name="connsiteX14" fmla="*/ 937239 w 2431650"/>
                <a:gd name="connsiteY14" fmla="*/ 425513 h 2585185"/>
                <a:gd name="connsiteX15" fmla="*/ 638474 w 2431650"/>
                <a:gd name="connsiteY15" fmla="*/ 0 h 2585185"/>
                <a:gd name="connsiteX16" fmla="*/ 312550 w 2431650"/>
                <a:gd name="connsiteY16" fmla="*/ 18107 h 2585185"/>
                <a:gd name="connsiteX0" fmla="*/ 321740 w 2440840"/>
                <a:gd name="connsiteY0" fmla="*/ 18107 h 2585185"/>
                <a:gd name="connsiteX1" fmla="*/ 77296 w 2440840"/>
                <a:gd name="connsiteY1" fmla="*/ 226336 h 2585185"/>
                <a:gd name="connsiteX2" fmla="*/ 32029 w 2440840"/>
                <a:gd name="connsiteY2" fmla="*/ 778598 h 2585185"/>
                <a:gd name="connsiteX3" fmla="*/ 1670706 w 2440840"/>
                <a:gd name="connsiteY3" fmla="*/ 2553077 h 2585185"/>
                <a:gd name="connsiteX4" fmla="*/ 2105272 w 2440840"/>
                <a:gd name="connsiteY4" fmla="*/ 2544024 h 2585185"/>
                <a:gd name="connsiteX5" fmla="*/ 2349716 w 2440840"/>
                <a:gd name="connsiteY5" fmla="*/ 2326740 h 2585185"/>
                <a:gd name="connsiteX6" fmla="*/ 2413090 w 2440840"/>
                <a:gd name="connsiteY6" fmla="*/ 2009869 h 2585185"/>
                <a:gd name="connsiteX7" fmla="*/ 2045718 w 2440840"/>
                <a:gd name="connsiteY7" fmla="*/ 1663927 h 2585185"/>
                <a:gd name="connsiteX8" fmla="*/ 1734080 w 2440840"/>
                <a:gd name="connsiteY8" fmla="*/ 1683944 h 2585185"/>
                <a:gd name="connsiteX9" fmla="*/ 1625910 w 2440840"/>
                <a:gd name="connsiteY9" fmla="*/ 1779242 h 2585185"/>
                <a:gd name="connsiteX10" fmla="*/ 1362888 w 2440840"/>
                <a:gd name="connsiteY10" fmla="*/ 1792586 h 2585185"/>
                <a:gd name="connsiteX11" fmla="*/ 742962 w 2440840"/>
                <a:gd name="connsiteY11" fmla="*/ 1097379 h 2585185"/>
                <a:gd name="connsiteX12" fmla="*/ 756306 w 2440840"/>
                <a:gd name="connsiteY12" fmla="*/ 841972 h 2585185"/>
                <a:gd name="connsiteX13" fmla="*/ 901161 w 2440840"/>
                <a:gd name="connsiteY13" fmla="*/ 697117 h 2585185"/>
                <a:gd name="connsiteX14" fmla="*/ 946429 w 2440840"/>
                <a:gd name="connsiteY14" fmla="*/ 425513 h 2585185"/>
                <a:gd name="connsiteX15" fmla="*/ 647664 w 2440840"/>
                <a:gd name="connsiteY15" fmla="*/ 0 h 2585185"/>
                <a:gd name="connsiteX16" fmla="*/ 321740 w 2440840"/>
                <a:gd name="connsiteY16" fmla="*/ 18107 h 2585185"/>
                <a:gd name="connsiteX0" fmla="*/ 321740 w 2440840"/>
                <a:gd name="connsiteY0" fmla="*/ 18107 h 2585185"/>
                <a:gd name="connsiteX1" fmla="*/ 77296 w 2440840"/>
                <a:gd name="connsiteY1" fmla="*/ 226336 h 2585185"/>
                <a:gd name="connsiteX2" fmla="*/ 32029 w 2440840"/>
                <a:gd name="connsiteY2" fmla="*/ 778598 h 2585185"/>
                <a:gd name="connsiteX3" fmla="*/ 1670706 w 2440840"/>
                <a:gd name="connsiteY3" fmla="*/ 2553077 h 2585185"/>
                <a:gd name="connsiteX4" fmla="*/ 2105272 w 2440840"/>
                <a:gd name="connsiteY4" fmla="*/ 2544024 h 2585185"/>
                <a:gd name="connsiteX5" fmla="*/ 2349716 w 2440840"/>
                <a:gd name="connsiteY5" fmla="*/ 2326740 h 2585185"/>
                <a:gd name="connsiteX6" fmla="*/ 2413090 w 2440840"/>
                <a:gd name="connsiteY6" fmla="*/ 2009869 h 2585185"/>
                <a:gd name="connsiteX7" fmla="*/ 2045718 w 2440840"/>
                <a:gd name="connsiteY7" fmla="*/ 1663927 h 2585185"/>
                <a:gd name="connsiteX8" fmla="*/ 1734080 w 2440840"/>
                <a:gd name="connsiteY8" fmla="*/ 1683944 h 2585185"/>
                <a:gd name="connsiteX9" fmla="*/ 1625910 w 2440840"/>
                <a:gd name="connsiteY9" fmla="*/ 1779242 h 2585185"/>
                <a:gd name="connsiteX10" fmla="*/ 1362888 w 2440840"/>
                <a:gd name="connsiteY10" fmla="*/ 1792586 h 2585185"/>
                <a:gd name="connsiteX11" fmla="*/ 742962 w 2440840"/>
                <a:gd name="connsiteY11" fmla="*/ 1097379 h 2585185"/>
                <a:gd name="connsiteX12" fmla="*/ 756306 w 2440840"/>
                <a:gd name="connsiteY12" fmla="*/ 841972 h 2585185"/>
                <a:gd name="connsiteX13" fmla="*/ 901161 w 2440840"/>
                <a:gd name="connsiteY13" fmla="*/ 697117 h 2585185"/>
                <a:gd name="connsiteX14" fmla="*/ 946429 w 2440840"/>
                <a:gd name="connsiteY14" fmla="*/ 425513 h 2585185"/>
                <a:gd name="connsiteX15" fmla="*/ 647664 w 2440840"/>
                <a:gd name="connsiteY15" fmla="*/ 0 h 2585185"/>
                <a:gd name="connsiteX16" fmla="*/ 321740 w 2440840"/>
                <a:gd name="connsiteY16" fmla="*/ 18107 h 2585185"/>
                <a:gd name="connsiteX0" fmla="*/ 321740 w 2440840"/>
                <a:gd name="connsiteY0" fmla="*/ 18107 h 2585185"/>
                <a:gd name="connsiteX1" fmla="*/ 77296 w 2440840"/>
                <a:gd name="connsiteY1" fmla="*/ 226336 h 2585185"/>
                <a:gd name="connsiteX2" fmla="*/ 32029 w 2440840"/>
                <a:gd name="connsiteY2" fmla="*/ 778598 h 2585185"/>
                <a:gd name="connsiteX3" fmla="*/ 1670706 w 2440840"/>
                <a:gd name="connsiteY3" fmla="*/ 2553077 h 2585185"/>
                <a:gd name="connsiteX4" fmla="*/ 2105272 w 2440840"/>
                <a:gd name="connsiteY4" fmla="*/ 2544024 h 2585185"/>
                <a:gd name="connsiteX5" fmla="*/ 2349716 w 2440840"/>
                <a:gd name="connsiteY5" fmla="*/ 2326740 h 2585185"/>
                <a:gd name="connsiteX6" fmla="*/ 2413090 w 2440840"/>
                <a:gd name="connsiteY6" fmla="*/ 2009869 h 2585185"/>
                <a:gd name="connsiteX7" fmla="*/ 2045718 w 2440840"/>
                <a:gd name="connsiteY7" fmla="*/ 1663927 h 2585185"/>
                <a:gd name="connsiteX8" fmla="*/ 1734080 w 2440840"/>
                <a:gd name="connsiteY8" fmla="*/ 1683944 h 2585185"/>
                <a:gd name="connsiteX9" fmla="*/ 1625910 w 2440840"/>
                <a:gd name="connsiteY9" fmla="*/ 1779242 h 2585185"/>
                <a:gd name="connsiteX10" fmla="*/ 1362888 w 2440840"/>
                <a:gd name="connsiteY10" fmla="*/ 1792586 h 2585185"/>
                <a:gd name="connsiteX11" fmla="*/ 742962 w 2440840"/>
                <a:gd name="connsiteY11" fmla="*/ 1097379 h 2585185"/>
                <a:gd name="connsiteX12" fmla="*/ 756306 w 2440840"/>
                <a:gd name="connsiteY12" fmla="*/ 841972 h 2585185"/>
                <a:gd name="connsiteX13" fmla="*/ 901161 w 2440840"/>
                <a:gd name="connsiteY13" fmla="*/ 697117 h 2585185"/>
                <a:gd name="connsiteX14" fmla="*/ 946429 w 2440840"/>
                <a:gd name="connsiteY14" fmla="*/ 425513 h 2585185"/>
                <a:gd name="connsiteX15" fmla="*/ 647664 w 2440840"/>
                <a:gd name="connsiteY15" fmla="*/ 0 h 2585185"/>
                <a:gd name="connsiteX16" fmla="*/ 321740 w 2440840"/>
                <a:gd name="connsiteY16" fmla="*/ 18107 h 2585185"/>
                <a:gd name="connsiteX0" fmla="*/ 321740 w 2440840"/>
                <a:gd name="connsiteY0" fmla="*/ 18107 h 2585185"/>
                <a:gd name="connsiteX1" fmla="*/ 77296 w 2440840"/>
                <a:gd name="connsiteY1" fmla="*/ 226336 h 2585185"/>
                <a:gd name="connsiteX2" fmla="*/ 32029 w 2440840"/>
                <a:gd name="connsiteY2" fmla="*/ 778598 h 2585185"/>
                <a:gd name="connsiteX3" fmla="*/ 1670706 w 2440840"/>
                <a:gd name="connsiteY3" fmla="*/ 2553077 h 2585185"/>
                <a:gd name="connsiteX4" fmla="*/ 2105272 w 2440840"/>
                <a:gd name="connsiteY4" fmla="*/ 2544024 h 2585185"/>
                <a:gd name="connsiteX5" fmla="*/ 2349716 w 2440840"/>
                <a:gd name="connsiteY5" fmla="*/ 2326740 h 2585185"/>
                <a:gd name="connsiteX6" fmla="*/ 2413090 w 2440840"/>
                <a:gd name="connsiteY6" fmla="*/ 2009869 h 2585185"/>
                <a:gd name="connsiteX7" fmla="*/ 2045718 w 2440840"/>
                <a:gd name="connsiteY7" fmla="*/ 1663927 h 2585185"/>
                <a:gd name="connsiteX8" fmla="*/ 1734080 w 2440840"/>
                <a:gd name="connsiteY8" fmla="*/ 1683944 h 2585185"/>
                <a:gd name="connsiteX9" fmla="*/ 1625910 w 2440840"/>
                <a:gd name="connsiteY9" fmla="*/ 1779242 h 2585185"/>
                <a:gd name="connsiteX10" fmla="*/ 1362888 w 2440840"/>
                <a:gd name="connsiteY10" fmla="*/ 1792586 h 2585185"/>
                <a:gd name="connsiteX11" fmla="*/ 742962 w 2440840"/>
                <a:gd name="connsiteY11" fmla="*/ 1097379 h 2585185"/>
                <a:gd name="connsiteX12" fmla="*/ 756306 w 2440840"/>
                <a:gd name="connsiteY12" fmla="*/ 841972 h 2585185"/>
                <a:gd name="connsiteX13" fmla="*/ 901161 w 2440840"/>
                <a:gd name="connsiteY13" fmla="*/ 697117 h 2585185"/>
                <a:gd name="connsiteX14" fmla="*/ 946429 w 2440840"/>
                <a:gd name="connsiteY14" fmla="*/ 425513 h 2585185"/>
                <a:gd name="connsiteX15" fmla="*/ 647664 w 2440840"/>
                <a:gd name="connsiteY15" fmla="*/ 0 h 2585185"/>
                <a:gd name="connsiteX16" fmla="*/ 321740 w 2440840"/>
                <a:gd name="connsiteY16" fmla="*/ 18107 h 2585185"/>
                <a:gd name="connsiteX0" fmla="*/ 321740 w 2440840"/>
                <a:gd name="connsiteY0" fmla="*/ 18107 h 2585185"/>
                <a:gd name="connsiteX1" fmla="*/ 77296 w 2440840"/>
                <a:gd name="connsiteY1" fmla="*/ 226336 h 2585185"/>
                <a:gd name="connsiteX2" fmla="*/ 32029 w 2440840"/>
                <a:gd name="connsiteY2" fmla="*/ 778598 h 2585185"/>
                <a:gd name="connsiteX3" fmla="*/ 1670706 w 2440840"/>
                <a:gd name="connsiteY3" fmla="*/ 2553077 h 2585185"/>
                <a:gd name="connsiteX4" fmla="*/ 2105272 w 2440840"/>
                <a:gd name="connsiteY4" fmla="*/ 2544024 h 2585185"/>
                <a:gd name="connsiteX5" fmla="*/ 2349716 w 2440840"/>
                <a:gd name="connsiteY5" fmla="*/ 2326740 h 2585185"/>
                <a:gd name="connsiteX6" fmla="*/ 2413090 w 2440840"/>
                <a:gd name="connsiteY6" fmla="*/ 2009869 h 2585185"/>
                <a:gd name="connsiteX7" fmla="*/ 2045718 w 2440840"/>
                <a:gd name="connsiteY7" fmla="*/ 1663927 h 2585185"/>
                <a:gd name="connsiteX8" fmla="*/ 1734080 w 2440840"/>
                <a:gd name="connsiteY8" fmla="*/ 1683944 h 2585185"/>
                <a:gd name="connsiteX9" fmla="*/ 1625910 w 2440840"/>
                <a:gd name="connsiteY9" fmla="*/ 1779242 h 2585185"/>
                <a:gd name="connsiteX10" fmla="*/ 1362888 w 2440840"/>
                <a:gd name="connsiteY10" fmla="*/ 1792586 h 2585185"/>
                <a:gd name="connsiteX11" fmla="*/ 742962 w 2440840"/>
                <a:gd name="connsiteY11" fmla="*/ 1097379 h 2585185"/>
                <a:gd name="connsiteX12" fmla="*/ 756306 w 2440840"/>
                <a:gd name="connsiteY12" fmla="*/ 841972 h 2585185"/>
                <a:gd name="connsiteX13" fmla="*/ 901161 w 2440840"/>
                <a:gd name="connsiteY13" fmla="*/ 697117 h 2585185"/>
                <a:gd name="connsiteX14" fmla="*/ 946429 w 2440840"/>
                <a:gd name="connsiteY14" fmla="*/ 425513 h 2585185"/>
                <a:gd name="connsiteX15" fmla="*/ 647664 w 2440840"/>
                <a:gd name="connsiteY15" fmla="*/ 0 h 2585185"/>
                <a:gd name="connsiteX16" fmla="*/ 321740 w 2440840"/>
                <a:gd name="connsiteY16" fmla="*/ 18107 h 2585185"/>
                <a:gd name="connsiteX0" fmla="*/ 321740 w 2440840"/>
                <a:gd name="connsiteY0" fmla="*/ 45235 h 2612313"/>
                <a:gd name="connsiteX1" fmla="*/ 77296 w 2440840"/>
                <a:gd name="connsiteY1" fmla="*/ 253464 h 2612313"/>
                <a:gd name="connsiteX2" fmla="*/ 32029 w 2440840"/>
                <a:gd name="connsiteY2" fmla="*/ 805726 h 2612313"/>
                <a:gd name="connsiteX3" fmla="*/ 1670706 w 2440840"/>
                <a:gd name="connsiteY3" fmla="*/ 2580205 h 2612313"/>
                <a:gd name="connsiteX4" fmla="*/ 2105272 w 2440840"/>
                <a:gd name="connsiteY4" fmla="*/ 2571152 h 2612313"/>
                <a:gd name="connsiteX5" fmla="*/ 2349716 w 2440840"/>
                <a:gd name="connsiteY5" fmla="*/ 2353868 h 2612313"/>
                <a:gd name="connsiteX6" fmla="*/ 2413090 w 2440840"/>
                <a:gd name="connsiteY6" fmla="*/ 2036997 h 2612313"/>
                <a:gd name="connsiteX7" fmla="*/ 2045718 w 2440840"/>
                <a:gd name="connsiteY7" fmla="*/ 1691055 h 2612313"/>
                <a:gd name="connsiteX8" fmla="*/ 1734080 w 2440840"/>
                <a:gd name="connsiteY8" fmla="*/ 1711072 h 2612313"/>
                <a:gd name="connsiteX9" fmla="*/ 1625910 w 2440840"/>
                <a:gd name="connsiteY9" fmla="*/ 1806370 h 2612313"/>
                <a:gd name="connsiteX10" fmla="*/ 1362888 w 2440840"/>
                <a:gd name="connsiteY10" fmla="*/ 1819714 h 2612313"/>
                <a:gd name="connsiteX11" fmla="*/ 742962 w 2440840"/>
                <a:gd name="connsiteY11" fmla="*/ 1124507 h 2612313"/>
                <a:gd name="connsiteX12" fmla="*/ 756306 w 2440840"/>
                <a:gd name="connsiteY12" fmla="*/ 869100 h 2612313"/>
                <a:gd name="connsiteX13" fmla="*/ 901161 w 2440840"/>
                <a:gd name="connsiteY13" fmla="*/ 724245 h 2612313"/>
                <a:gd name="connsiteX14" fmla="*/ 946429 w 2440840"/>
                <a:gd name="connsiteY14" fmla="*/ 452641 h 2612313"/>
                <a:gd name="connsiteX15" fmla="*/ 647664 w 2440840"/>
                <a:gd name="connsiteY15" fmla="*/ 27128 h 2612313"/>
                <a:gd name="connsiteX16" fmla="*/ 321740 w 2440840"/>
                <a:gd name="connsiteY16" fmla="*/ 45235 h 2612313"/>
                <a:gd name="connsiteX0" fmla="*/ 321740 w 2440840"/>
                <a:gd name="connsiteY0" fmla="*/ 56470 h 2623548"/>
                <a:gd name="connsiteX1" fmla="*/ 77296 w 2440840"/>
                <a:gd name="connsiteY1" fmla="*/ 264699 h 2623548"/>
                <a:gd name="connsiteX2" fmla="*/ 32029 w 2440840"/>
                <a:gd name="connsiteY2" fmla="*/ 816961 h 2623548"/>
                <a:gd name="connsiteX3" fmla="*/ 1670706 w 2440840"/>
                <a:gd name="connsiteY3" fmla="*/ 2591440 h 2623548"/>
                <a:gd name="connsiteX4" fmla="*/ 2105272 w 2440840"/>
                <a:gd name="connsiteY4" fmla="*/ 2582387 h 2623548"/>
                <a:gd name="connsiteX5" fmla="*/ 2349716 w 2440840"/>
                <a:gd name="connsiteY5" fmla="*/ 2365103 h 2623548"/>
                <a:gd name="connsiteX6" fmla="*/ 2413090 w 2440840"/>
                <a:gd name="connsiteY6" fmla="*/ 2048232 h 2623548"/>
                <a:gd name="connsiteX7" fmla="*/ 2045718 w 2440840"/>
                <a:gd name="connsiteY7" fmla="*/ 1702290 h 2623548"/>
                <a:gd name="connsiteX8" fmla="*/ 1734080 w 2440840"/>
                <a:gd name="connsiteY8" fmla="*/ 1722307 h 2623548"/>
                <a:gd name="connsiteX9" fmla="*/ 1625910 w 2440840"/>
                <a:gd name="connsiteY9" fmla="*/ 1817605 h 2623548"/>
                <a:gd name="connsiteX10" fmla="*/ 1362888 w 2440840"/>
                <a:gd name="connsiteY10" fmla="*/ 1830949 h 2623548"/>
                <a:gd name="connsiteX11" fmla="*/ 742962 w 2440840"/>
                <a:gd name="connsiteY11" fmla="*/ 1135742 h 2623548"/>
                <a:gd name="connsiteX12" fmla="*/ 756306 w 2440840"/>
                <a:gd name="connsiteY12" fmla="*/ 880335 h 2623548"/>
                <a:gd name="connsiteX13" fmla="*/ 901161 w 2440840"/>
                <a:gd name="connsiteY13" fmla="*/ 735480 h 2623548"/>
                <a:gd name="connsiteX14" fmla="*/ 946429 w 2440840"/>
                <a:gd name="connsiteY14" fmla="*/ 463876 h 2623548"/>
                <a:gd name="connsiteX15" fmla="*/ 647664 w 2440840"/>
                <a:gd name="connsiteY15" fmla="*/ 38363 h 2623548"/>
                <a:gd name="connsiteX16" fmla="*/ 321740 w 2440840"/>
                <a:gd name="connsiteY16" fmla="*/ 56470 h 26235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440840" h="2623548">
                  <a:moveTo>
                    <a:pt x="321740" y="56470"/>
                  </a:moveTo>
                  <a:lnTo>
                    <a:pt x="77296" y="264699"/>
                  </a:lnTo>
                  <a:cubicBezTo>
                    <a:pt x="12200" y="324961"/>
                    <a:pt x="-33844" y="580487"/>
                    <a:pt x="32029" y="816961"/>
                  </a:cubicBezTo>
                  <a:cubicBezTo>
                    <a:pt x="173442" y="1279866"/>
                    <a:pt x="643468" y="2176160"/>
                    <a:pt x="1670706" y="2591440"/>
                  </a:cubicBezTo>
                  <a:cubicBezTo>
                    <a:pt x="1779843" y="2633666"/>
                    <a:pt x="2027092" y="2637792"/>
                    <a:pt x="2105272" y="2582387"/>
                  </a:cubicBezTo>
                  <a:lnTo>
                    <a:pt x="2349716" y="2365103"/>
                  </a:lnTo>
                  <a:cubicBezTo>
                    <a:pt x="2447041" y="2259479"/>
                    <a:pt x="2463403" y="2175287"/>
                    <a:pt x="2413090" y="2048232"/>
                  </a:cubicBezTo>
                  <a:cubicBezTo>
                    <a:pt x="2393026" y="1990068"/>
                    <a:pt x="2261044" y="1819985"/>
                    <a:pt x="2045718" y="1702290"/>
                  </a:cubicBezTo>
                  <a:cubicBezTo>
                    <a:pt x="1903739" y="1625618"/>
                    <a:pt x="1766521" y="1684678"/>
                    <a:pt x="1734080" y="1722307"/>
                  </a:cubicBezTo>
                  <a:lnTo>
                    <a:pt x="1625910" y="1817605"/>
                  </a:lnTo>
                  <a:cubicBezTo>
                    <a:pt x="1553317" y="1892697"/>
                    <a:pt x="1478343" y="1905875"/>
                    <a:pt x="1362888" y="1830949"/>
                  </a:cubicBezTo>
                  <a:cubicBezTo>
                    <a:pt x="1144340" y="1649219"/>
                    <a:pt x="937697" y="1434153"/>
                    <a:pt x="742962" y="1135742"/>
                  </a:cubicBezTo>
                  <a:cubicBezTo>
                    <a:pt x="679942" y="1031557"/>
                    <a:pt x="685976" y="941658"/>
                    <a:pt x="756306" y="880335"/>
                  </a:cubicBezTo>
                  <a:lnTo>
                    <a:pt x="901161" y="735480"/>
                  </a:lnTo>
                  <a:cubicBezTo>
                    <a:pt x="966256" y="661614"/>
                    <a:pt x="981346" y="552030"/>
                    <a:pt x="946429" y="463876"/>
                  </a:cubicBezTo>
                  <a:cubicBezTo>
                    <a:pt x="880178" y="310132"/>
                    <a:pt x="794877" y="158770"/>
                    <a:pt x="647664" y="38363"/>
                  </a:cubicBezTo>
                  <a:cubicBezTo>
                    <a:pt x="562836" y="-29419"/>
                    <a:pt x="382756" y="2809"/>
                    <a:pt x="321740" y="56470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9" name="Freeform 282">
              <a:extLst>
                <a:ext uri="{FF2B5EF4-FFF2-40B4-BE49-F238E27FC236}">
                  <a16:creationId xmlns:a16="http://schemas.microsoft.com/office/drawing/2014/main" id="{248EA458-19CD-46DD-8660-BF862260CAC5}"/>
                </a:ext>
              </a:extLst>
            </p:cNvPr>
            <p:cNvSpPr/>
            <p:nvPr/>
          </p:nvSpPr>
          <p:spPr>
            <a:xfrm>
              <a:off x="-1889950" y="2368312"/>
              <a:ext cx="1015501" cy="1147082"/>
            </a:xfrm>
            <a:custGeom>
              <a:avLst/>
              <a:gdLst>
                <a:gd name="connsiteX0" fmla="*/ 11906 w 904875"/>
                <a:gd name="connsiteY0" fmla="*/ 0 h 1042987"/>
                <a:gd name="connsiteX1" fmla="*/ 0 w 904875"/>
                <a:gd name="connsiteY1" fmla="*/ 230981 h 1042987"/>
                <a:gd name="connsiteX2" fmla="*/ 669131 w 904875"/>
                <a:gd name="connsiteY2" fmla="*/ 1026319 h 1042987"/>
                <a:gd name="connsiteX3" fmla="*/ 904875 w 904875"/>
                <a:gd name="connsiteY3" fmla="*/ 1042987 h 1042987"/>
                <a:gd name="connsiteX4" fmla="*/ 11906 w 904875"/>
                <a:gd name="connsiteY4" fmla="*/ 0 h 1042987"/>
                <a:gd name="connsiteX0" fmla="*/ 44318 w 937287"/>
                <a:gd name="connsiteY0" fmla="*/ 0 h 1042987"/>
                <a:gd name="connsiteX1" fmla="*/ 32412 w 937287"/>
                <a:gd name="connsiteY1" fmla="*/ 230981 h 1042987"/>
                <a:gd name="connsiteX2" fmla="*/ 701543 w 937287"/>
                <a:gd name="connsiteY2" fmla="*/ 1026319 h 1042987"/>
                <a:gd name="connsiteX3" fmla="*/ 937287 w 937287"/>
                <a:gd name="connsiteY3" fmla="*/ 1042987 h 1042987"/>
                <a:gd name="connsiteX4" fmla="*/ 44318 w 937287"/>
                <a:gd name="connsiteY4" fmla="*/ 0 h 1042987"/>
                <a:gd name="connsiteX0" fmla="*/ 109397 w 1002366"/>
                <a:gd name="connsiteY0" fmla="*/ 0 h 1042987"/>
                <a:gd name="connsiteX1" fmla="*/ 97491 w 1002366"/>
                <a:gd name="connsiteY1" fmla="*/ 230981 h 1042987"/>
                <a:gd name="connsiteX2" fmla="*/ 766622 w 1002366"/>
                <a:gd name="connsiteY2" fmla="*/ 1026319 h 1042987"/>
                <a:gd name="connsiteX3" fmla="*/ 1002366 w 1002366"/>
                <a:gd name="connsiteY3" fmla="*/ 1042987 h 1042987"/>
                <a:gd name="connsiteX4" fmla="*/ 109397 w 1002366"/>
                <a:gd name="connsiteY4" fmla="*/ 0 h 1042987"/>
                <a:gd name="connsiteX0" fmla="*/ 118335 w 1011304"/>
                <a:gd name="connsiteY0" fmla="*/ 1033 h 1044020"/>
                <a:gd name="connsiteX1" fmla="*/ 106429 w 1011304"/>
                <a:gd name="connsiteY1" fmla="*/ 232014 h 1044020"/>
                <a:gd name="connsiteX2" fmla="*/ 775560 w 1011304"/>
                <a:gd name="connsiteY2" fmla="*/ 1027352 h 1044020"/>
                <a:gd name="connsiteX3" fmla="*/ 1011304 w 1011304"/>
                <a:gd name="connsiteY3" fmla="*/ 1044020 h 1044020"/>
                <a:gd name="connsiteX4" fmla="*/ 118335 w 1011304"/>
                <a:gd name="connsiteY4" fmla="*/ 1033 h 1044020"/>
                <a:gd name="connsiteX0" fmla="*/ 118335 w 1011304"/>
                <a:gd name="connsiteY0" fmla="*/ 1033 h 1044020"/>
                <a:gd name="connsiteX1" fmla="*/ 106429 w 1011304"/>
                <a:gd name="connsiteY1" fmla="*/ 232014 h 1044020"/>
                <a:gd name="connsiteX2" fmla="*/ 775560 w 1011304"/>
                <a:gd name="connsiteY2" fmla="*/ 1027352 h 1044020"/>
                <a:gd name="connsiteX3" fmla="*/ 1011304 w 1011304"/>
                <a:gd name="connsiteY3" fmla="*/ 1044020 h 1044020"/>
                <a:gd name="connsiteX4" fmla="*/ 118335 w 1011304"/>
                <a:gd name="connsiteY4" fmla="*/ 1033 h 1044020"/>
                <a:gd name="connsiteX0" fmla="*/ 118335 w 1013291"/>
                <a:gd name="connsiteY0" fmla="*/ 1033 h 1044020"/>
                <a:gd name="connsiteX1" fmla="*/ 106429 w 1013291"/>
                <a:gd name="connsiteY1" fmla="*/ 232014 h 1044020"/>
                <a:gd name="connsiteX2" fmla="*/ 775560 w 1013291"/>
                <a:gd name="connsiteY2" fmla="*/ 1027352 h 1044020"/>
                <a:gd name="connsiteX3" fmla="*/ 1011304 w 1013291"/>
                <a:gd name="connsiteY3" fmla="*/ 1044020 h 1044020"/>
                <a:gd name="connsiteX4" fmla="*/ 118335 w 1013291"/>
                <a:gd name="connsiteY4" fmla="*/ 1033 h 1044020"/>
                <a:gd name="connsiteX0" fmla="*/ 118335 w 1013155"/>
                <a:gd name="connsiteY0" fmla="*/ 1033 h 1044020"/>
                <a:gd name="connsiteX1" fmla="*/ 106429 w 1013155"/>
                <a:gd name="connsiteY1" fmla="*/ 232014 h 1044020"/>
                <a:gd name="connsiteX2" fmla="*/ 775560 w 1013155"/>
                <a:gd name="connsiteY2" fmla="*/ 1027352 h 1044020"/>
                <a:gd name="connsiteX3" fmla="*/ 1011304 w 1013155"/>
                <a:gd name="connsiteY3" fmla="*/ 1044020 h 1044020"/>
                <a:gd name="connsiteX4" fmla="*/ 118335 w 1013155"/>
                <a:gd name="connsiteY4" fmla="*/ 1033 h 1044020"/>
                <a:gd name="connsiteX0" fmla="*/ 120681 w 1015501"/>
                <a:gd name="connsiteY0" fmla="*/ 1033 h 1044020"/>
                <a:gd name="connsiteX1" fmla="*/ 108775 w 1015501"/>
                <a:gd name="connsiteY1" fmla="*/ 232014 h 1044020"/>
                <a:gd name="connsiteX2" fmla="*/ 777906 w 1015501"/>
                <a:gd name="connsiteY2" fmla="*/ 1027352 h 1044020"/>
                <a:gd name="connsiteX3" fmla="*/ 1013650 w 1015501"/>
                <a:gd name="connsiteY3" fmla="*/ 1044020 h 1044020"/>
                <a:gd name="connsiteX4" fmla="*/ 120681 w 1015501"/>
                <a:gd name="connsiteY4" fmla="*/ 1033 h 1044020"/>
                <a:gd name="connsiteX0" fmla="*/ 120681 w 1015501"/>
                <a:gd name="connsiteY0" fmla="*/ 1033 h 1044020"/>
                <a:gd name="connsiteX1" fmla="*/ 108775 w 1015501"/>
                <a:gd name="connsiteY1" fmla="*/ 232014 h 1044020"/>
                <a:gd name="connsiteX2" fmla="*/ 777906 w 1015501"/>
                <a:gd name="connsiteY2" fmla="*/ 1027352 h 1044020"/>
                <a:gd name="connsiteX3" fmla="*/ 1013650 w 1015501"/>
                <a:gd name="connsiteY3" fmla="*/ 1044020 h 1044020"/>
                <a:gd name="connsiteX4" fmla="*/ 120681 w 1015501"/>
                <a:gd name="connsiteY4" fmla="*/ 1033 h 1044020"/>
                <a:gd name="connsiteX0" fmla="*/ 120681 w 1015501"/>
                <a:gd name="connsiteY0" fmla="*/ 1033 h 1044020"/>
                <a:gd name="connsiteX1" fmla="*/ 108775 w 1015501"/>
                <a:gd name="connsiteY1" fmla="*/ 232014 h 1044020"/>
                <a:gd name="connsiteX2" fmla="*/ 777906 w 1015501"/>
                <a:gd name="connsiteY2" fmla="*/ 1027352 h 1044020"/>
                <a:gd name="connsiteX3" fmla="*/ 1013650 w 1015501"/>
                <a:gd name="connsiteY3" fmla="*/ 1044020 h 1044020"/>
                <a:gd name="connsiteX4" fmla="*/ 120681 w 1015501"/>
                <a:gd name="connsiteY4" fmla="*/ 1033 h 1044020"/>
                <a:gd name="connsiteX0" fmla="*/ 120681 w 1015501"/>
                <a:gd name="connsiteY0" fmla="*/ 1033 h 1044020"/>
                <a:gd name="connsiteX1" fmla="*/ 108775 w 1015501"/>
                <a:gd name="connsiteY1" fmla="*/ 232014 h 1044020"/>
                <a:gd name="connsiteX2" fmla="*/ 777906 w 1015501"/>
                <a:gd name="connsiteY2" fmla="*/ 1027352 h 1044020"/>
                <a:gd name="connsiteX3" fmla="*/ 1013650 w 1015501"/>
                <a:gd name="connsiteY3" fmla="*/ 1044020 h 1044020"/>
                <a:gd name="connsiteX4" fmla="*/ 120681 w 1015501"/>
                <a:gd name="connsiteY4" fmla="*/ 1033 h 1044020"/>
                <a:gd name="connsiteX0" fmla="*/ 120681 w 1015501"/>
                <a:gd name="connsiteY0" fmla="*/ 1033 h 1093407"/>
                <a:gd name="connsiteX1" fmla="*/ 108775 w 1015501"/>
                <a:gd name="connsiteY1" fmla="*/ 232014 h 1093407"/>
                <a:gd name="connsiteX2" fmla="*/ 777906 w 1015501"/>
                <a:gd name="connsiteY2" fmla="*/ 1027352 h 1093407"/>
                <a:gd name="connsiteX3" fmla="*/ 1013650 w 1015501"/>
                <a:gd name="connsiteY3" fmla="*/ 1044020 h 1093407"/>
                <a:gd name="connsiteX4" fmla="*/ 120681 w 1015501"/>
                <a:gd name="connsiteY4" fmla="*/ 1033 h 1093407"/>
                <a:gd name="connsiteX0" fmla="*/ 120681 w 1015501"/>
                <a:gd name="connsiteY0" fmla="*/ 1033 h 1147082"/>
                <a:gd name="connsiteX1" fmla="*/ 108775 w 1015501"/>
                <a:gd name="connsiteY1" fmla="*/ 232014 h 1147082"/>
                <a:gd name="connsiteX2" fmla="*/ 777906 w 1015501"/>
                <a:gd name="connsiteY2" fmla="*/ 1027352 h 1147082"/>
                <a:gd name="connsiteX3" fmla="*/ 1013650 w 1015501"/>
                <a:gd name="connsiteY3" fmla="*/ 1044020 h 1147082"/>
                <a:gd name="connsiteX4" fmla="*/ 120681 w 1015501"/>
                <a:gd name="connsiteY4" fmla="*/ 1033 h 11470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5501" h="1147082">
                  <a:moveTo>
                    <a:pt x="120681" y="1033"/>
                  </a:moveTo>
                  <a:cubicBezTo>
                    <a:pt x="-9494" y="-17223"/>
                    <a:pt x="-63468" y="212170"/>
                    <a:pt x="108775" y="232014"/>
                  </a:cubicBezTo>
                  <a:cubicBezTo>
                    <a:pt x="541369" y="282814"/>
                    <a:pt x="812037" y="652701"/>
                    <a:pt x="777906" y="1027352"/>
                  </a:cubicBezTo>
                  <a:cubicBezTo>
                    <a:pt x="766000" y="1168639"/>
                    <a:pt x="1004125" y="1198007"/>
                    <a:pt x="1013650" y="1044020"/>
                  </a:cubicBezTo>
                  <a:cubicBezTo>
                    <a:pt x="1042225" y="551102"/>
                    <a:pt x="739806" y="62944"/>
                    <a:pt x="120681" y="1033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0" name="Freeform 283">
              <a:extLst>
                <a:ext uri="{FF2B5EF4-FFF2-40B4-BE49-F238E27FC236}">
                  <a16:creationId xmlns:a16="http://schemas.microsoft.com/office/drawing/2014/main" id="{B8B13EF4-884F-40BC-94FD-C200E4FC1E26}"/>
                </a:ext>
              </a:extLst>
            </p:cNvPr>
            <p:cNvSpPr/>
            <p:nvPr/>
          </p:nvSpPr>
          <p:spPr>
            <a:xfrm>
              <a:off x="-1734411" y="1835694"/>
              <a:ext cx="1402976" cy="1603500"/>
            </a:xfrm>
            <a:custGeom>
              <a:avLst/>
              <a:gdLst>
                <a:gd name="connsiteX0" fmla="*/ 11906 w 904875"/>
                <a:gd name="connsiteY0" fmla="*/ 0 h 1042987"/>
                <a:gd name="connsiteX1" fmla="*/ 0 w 904875"/>
                <a:gd name="connsiteY1" fmla="*/ 230981 h 1042987"/>
                <a:gd name="connsiteX2" fmla="*/ 669131 w 904875"/>
                <a:gd name="connsiteY2" fmla="*/ 1026319 h 1042987"/>
                <a:gd name="connsiteX3" fmla="*/ 904875 w 904875"/>
                <a:gd name="connsiteY3" fmla="*/ 1042987 h 1042987"/>
                <a:gd name="connsiteX4" fmla="*/ 11906 w 904875"/>
                <a:gd name="connsiteY4" fmla="*/ 0 h 1042987"/>
                <a:gd name="connsiteX0" fmla="*/ 44318 w 937287"/>
                <a:gd name="connsiteY0" fmla="*/ 0 h 1042987"/>
                <a:gd name="connsiteX1" fmla="*/ 32412 w 937287"/>
                <a:gd name="connsiteY1" fmla="*/ 230981 h 1042987"/>
                <a:gd name="connsiteX2" fmla="*/ 701543 w 937287"/>
                <a:gd name="connsiteY2" fmla="*/ 1026319 h 1042987"/>
                <a:gd name="connsiteX3" fmla="*/ 937287 w 937287"/>
                <a:gd name="connsiteY3" fmla="*/ 1042987 h 1042987"/>
                <a:gd name="connsiteX4" fmla="*/ 44318 w 937287"/>
                <a:gd name="connsiteY4" fmla="*/ 0 h 1042987"/>
                <a:gd name="connsiteX0" fmla="*/ 109397 w 1002366"/>
                <a:gd name="connsiteY0" fmla="*/ 0 h 1042987"/>
                <a:gd name="connsiteX1" fmla="*/ 97491 w 1002366"/>
                <a:gd name="connsiteY1" fmla="*/ 230981 h 1042987"/>
                <a:gd name="connsiteX2" fmla="*/ 766622 w 1002366"/>
                <a:gd name="connsiteY2" fmla="*/ 1026319 h 1042987"/>
                <a:gd name="connsiteX3" fmla="*/ 1002366 w 1002366"/>
                <a:gd name="connsiteY3" fmla="*/ 1042987 h 1042987"/>
                <a:gd name="connsiteX4" fmla="*/ 109397 w 1002366"/>
                <a:gd name="connsiteY4" fmla="*/ 0 h 1042987"/>
                <a:gd name="connsiteX0" fmla="*/ 118335 w 1011304"/>
                <a:gd name="connsiteY0" fmla="*/ 1033 h 1044020"/>
                <a:gd name="connsiteX1" fmla="*/ 106429 w 1011304"/>
                <a:gd name="connsiteY1" fmla="*/ 232014 h 1044020"/>
                <a:gd name="connsiteX2" fmla="*/ 775560 w 1011304"/>
                <a:gd name="connsiteY2" fmla="*/ 1027352 h 1044020"/>
                <a:gd name="connsiteX3" fmla="*/ 1011304 w 1011304"/>
                <a:gd name="connsiteY3" fmla="*/ 1044020 h 1044020"/>
                <a:gd name="connsiteX4" fmla="*/ 118335 w 1011304"/>
                <a:gd name="connsiteY4" fmla="*/ 1033 h 1044020"/>
                <a:gd name="connsiteX0" fmla="*/ 118335 w 1011304"/>
                <a:gd name="connsiteY0" fmla="*/ 1033 h 1044020"/>
                <a:gd name="connsiteX1" fmla="*/ 106429 w 1011304"/>
                <a:gd name="connsiteY1" fmla="*/ 232014 h 1044020"/>
                <a:gd name="connsiteX2" fmla="*/ 775560 w 1011304"/>
                <a:gd name="connsiteY2" fmla="*/ 1027352 h 1044020"/>
                <a:gd name="connsiteX3" fmla="*/ 1011304 w 1011304"/>
                <a:gd name="connsiteY3" fmla="*/ 1044020 h 1044020"/>
                <a:gd name="connsiteX4" fmla="*/ 118335 w 1011304"/>
                <a:gd name="connsiteY4" fmla="*/ 1033 h 1044020"/>
                <a:gd name="connsiteX0" fmla="*/ 118335 w 1013291"/>
                <a:gd name="connsiteY0" fmla="*/ 1033 h 1044020"/>
                <a:gd name="connsiteX1" fmla="*/ 106429 w 1013291"/>
                <a:gd name="connsiteY1" fmla="*/ 232014 h 1044020"/>
                <a:gd name="connsiteX2" fmla="*/ 775560 w 1013291"/>
                <a:gd name="connsiteY2" fmla="*/ 1027352 h 1044020"/>
                <a:gd name="connsiteX3" fmla="*/ 1011304 w 1013291"/>
                <a:gd name="connsiteY3" fmla="*/ 1044020 h 1044020"/>
                <a:gd name="connsiteX4" fmla="*/ 118335 w 1013291"/>
                <a:gd name="connsiteY4" fmla="*/ 1033 h 1044020"/>
                <a:gd name="connsiteX0" fmla="*/ 118335 w 1013155"/>
                <a:gd name="connsiteY0" fmla="*/ 1033 h 1044020"/>
                <a:gd name="connsiteX1" fmla="*/ 106429 w 1013155"/>
                <a:gd name="connsiteY1" fmla="*/ 232014 h 1044020"/>
                <a:gd name="connsiteX2" fmla="*/ 775560 w 1013155"/>
                <a:gd name="connsiteY2" fmla="*/ 1027352 h 1044020"/>
                <a:gd name="connsiteX3" fmla="*/ 1011304 w 1013155"/>
                <a:gd name="connsiteY3" fmla="*/ 1044020 h 1044020"/>
                <a:gd name="connsiteX4" fmla="*/ 118335 w 1013155"/>
                <a:gd name="connsiteY4" fmla="*/ 1033 h 1044020"/>
                <a:gd name="connsiteX0" fmla="*/ 120681 w 1015501"/>
                <a:gd name="connsiteY0" fmla="*/ 1033 h 1044020"/>
                <a:gd name="connsiteX1" fmla="*/ 108775 w 1015501"/>
                <a:gd name="connsiteY1" fmla="*/ 232014 h 1044020"/>
                <a:gd name="connsiteX2" fmla="*/ 777906 w 1015501"/>
                <a:gd name="connsiteY2" fmla="*/ 1027352 h 1044020"/>
                <a:gd name="connsiteX3" fmla="*/ 1013650 w 1015501"/>
                <a:gd name="connsiteY3" fmla="*/ 1044020 h 1044020"/>
                <a:gd name="connsiteX4" fmla="*/ 120681 w 1015501"/>
                <a:gd name="connsiteY4" fmla="*/ 1033 h 1044020"/>
                <a:gd name="connsiteX0" fmla="*/ 120681 w 1015501"/>
                <a:gd name="connsiteY0" fmla="*/ 1033 h 1044020"/>
                <a:gd name="connsiteX1" fmla="*/ 108775 w 1015501"/>
                <a:gd name="connsiteY1" fmla="*/ 232014 h 1044020"/>
                <a:gd name="connsiteX2" fmla="*/ 777906 w 1015501"/>
                <a:gd name="connsiteY2" fmla="*/ 1027352 h 1044020"/>
                <a:gd name="connsiteX3" fmla="*/ 1013650 w 1015501"/>
                <a:gd name="connsiteY3" fmla="*/ 1044020 h 1044020"/>
                <a:gd name="connsiteX4" fmla="*/ 120681 w 1015501"/>
                <a:gd name="connsiteY4" fmla="*/ 1033 h 1044020"/>
                <a:gd name="connsiteX0" fmla="*/ 120681 w 1015501"/>
                <a:gd name="connsiteY0" fmla="*/ 1033 h 1044020"/>
                <a:gd name="connsiteX1" fmla="*/ 108775 w 1015501"/>
                <a:gd name="connsiteY1" fmla="*/ 232014 h 1044020"/>
                <a:gd name="connsiteX2" fmla="*/ 777906 w 1015501"/>
                <a:gd name="connsiteY2" fmla="*/ 1027352 h 1044020"/>
                <a:gd name="connsiteX3" fmla="*/ 1013650 w 1015501"/>
                <a:gd name="connsiteY3" fmla="*/ 1044020 h 1044020"/>
                <a:gd name="connsiteX4" fmla="*/ 120681 w 1015501"/>
                <a:gd name="connsiteY4" fmla="*/ 1033 h 1044020"/>
                <a:gd name="connsiteX0" fmla="*/ 120681 w 1015501"/>
                <a:gd name="connsiteY0" fmla="*/ 1033 h 1044020"/>
                <a:gd name="connsiteX1" fmla="*/ 108775 w 1015501"/>
                <a:gd name="connsiteY1" fmla="*/ 232014 h 1044020"/>
                <a:gd name="connsiteX2" fmla="*/ 777906 w 1015501"/>
                <a:gd name="connsiteY2" fmla="*/ 1027352 h 1044020"/>
                <a:gd name="connsiteX3" fmla="*/ 1013650 w 1015501"/>
                <a:gd name="connsiteY3" fmla="*/ 1044020 h 1044020"/>
                <a:gd name="connsiteX4" fmla="*/ 120681 w 1015501"/>
                <a:gd name="connsiteY4" fmla="*/ 1033 h 1044020"/>
                <a:gd name="connsiteX0" fmla="*/ 120681 w 1015501"/>
                <a:gd name="connsiteY0" fmla="*/ 1033 h 1093407"/>
                <a:gd name="connsiteX1" fmla="*/ 108775 w 1015501"/>
                <a:gd name="connsiteY1" fmla="*/ 232014 h 1093407"/>
                <a:gd name="connsiteX2" fmla="*/ 777906 w 1015501"/>
                <a:gd name="connsiteY2" fmla="*/ 1027352 h 1093407"/>
                <a:gd name="connsiteX3" fmla="*/ 1013650 w 1015501"/>
                <a:gd name="connsiteY3" fmla="*/ 1044020 h 1093407"/>
                <a:gd name="connsiteX4" fmla="*/ 120681 w 1015501"/>
                <a:gd name="connsiteY4" fmla="*/ 1033 h 1093407"/>
                <a:gd name="connsiteX0" fmla="*/ 120681 w 1015501"/>
                <a:gd name="connsiteY0" fmla="*/ 1033 h 1147082"/>
                <a:gd name="connsiteX1" fmla="*/ 108775 w 1015501"/>
                <a:gd name="connsiteY1" fmla="*/ 232014 h 1147082"/>
                <a:gd name="connsiteX2" fmla="*/ 777906 w 1015501"/>
                <a:gd name="connsiteY2" fmla="*/ 1027352 h 1147082"/>
                <a:gd name="connsiteX3" fmla="*/ 1013650 w 1015501"/>
                <a:gd name="connsiteY3" fmla="*/ 1044020 h 1147082"/>
                <a:gd name="connsiteX4" fmla="*/ 120681 w 1015501"/>
                <a:gd name="connsiteY4" fmla="*/ 1033 h 1147082"/>
                <a:gd name="connsiteX0" fmla="*/ 29878 w 1304713"/>
                <a:gd name="connsiteY0" fmla="*/ 357 h 1603606"/>
                <a:gd name="connsiteX1" fmla="*/ 398972 w 1304713"/>
                <a:gd name="connsiteY1" fmla="*/ 688538 h 1603606"/>
                <a:gd name="connsiteX2" fmla="*/ 1068103 w 1304713"/>
                <a:gd name="connsiteY2" fmla="*/ 1483876 h 1603606"/>
                <a:gd name="connsiteX3" fmla="*/ 1303847 w 1304713"/>
                <a:gd name="connsiteY3" fmla="*/ 1500544 h 1603606"/>
                <a:gd name="connsiteX4" fmla="*/ 29878 w 1304713"/>
                <a:gd name="connsiteY4" fmla="*/ 357 h 1603606"/>
                <a:gd name="connsiteX0" fmla="*/ 120681 w 1395516"/>
                <a:gd name="connsiteY0" fmla="*/ 1023 h 1604272"/>
                <a:gd name="connsiteX1" fmla="*/ 108775 w 1395516"/>
                <a:gd name="connsiteY1" fmla="*/ 234385 h 1604272"/>
                <a:gd name="connsiteX2" fmla="*/ 1158906 w 1395516"/>
                <a:gd name="connsiteY2" fmla="*/ 1484542 h 1604272"/>
                <a:gd name="connsiteX3" fmla="*/ 1394650 w 1395516"/>
                <a:gd name="connsiteY3" fmla="*/ 1501210 h 1604272"/>
                <a:gd name="connsiteX4" fmla="*/ 120681 w 1395516"/>
                <a:gd name="connsiteY4" fmla="*/ 1023 h 1604272"/>
                <a:gd name="connsiteX0" fmla="*/ 120681 w 1395516"/>
                <a:gd name="connsiteY0" fmla="*/ 1023 h 1604272"/>
                <a:gd name="connsiteX1" fmla="*/ 108775 w 1395516"/>
                <a:gd name="connsiteY1" fmla="*/ 234385 h 1604272"/>
                <a:gd name="connsiteX2" fmla="*/ 1158906 w 1395516"/>
                <a:gd name="connsiteY2" fmla="*/ 1484542 h 1604272"/>
                <a:gd name="connsiteX3" fmla="*/ 1394650 w 1395516"/>
                <a:gd name="connsiteY3" fmla="*/ 1501210 h 1604272"/>
                <a:gd name="connsiteX4" fmla="*/ 120681 w 1395516"/>
                <a:gd name="connsiteY4" fmla="*/ 1023 h 1604272"/>
                <a:gd name="connsiteX0" fmla="*/ 120681 w 1395516"/>
                <a:gd name="connsiteY0" fmla="*/ 1023 h 1604272"/>
                <a:gd name="connsiteX1" fmla="*/ 108775 w 1395516"/>
                <a:gd name="connsiteY1" fmla="*/ 234385 h 1604272"/>
                <a:gd name="connsiteX2" fmla="*/ 1158906 w 1395516"/>
                <a:gd name="connsiteY2" fmla="*/ 1484542 h 1604272"/>
                <a:gd name="connsiteX3" fmla="*/ 1394650 w 1395516"/>
                <a:gd name="connsiteY3" fmla="*/ 1501210 h 1604272"/>
                <a:gd name="connsiteX4" fmla="*/ 120681 w 1395516"/>
                <a:gd name="connsiteY4" fmla="*/ 1023 h 1604272"/>
                <a:gd name="connsiteX0" fmla="*/ 120681 w 1395516"/>
                <a:gd name="connsiteY0" fmla="*/ 1023 h 1604272"/>
                <a:gd name="connsiteX1" fmla="*/ 108775 w 1395516"/>
                <a:gd name="connsiteY1" fmla="*/ 234385 h 1604272"/>
                <a:gd name="connsiteX2" fmla="*/ 1158906 w 1395516"/>
                <a:gd name="connsiteY2" fmla="*/ 1484542 h 1604272"/>
                <a:gd name="connsiteX3" fmla="*/ 1394650 w 1395516"/>
                <a:gd name="connsiteY3" fmla="*/ 1501210 h 1604272"/>
                <a:gd name="connsiteX4" fmla="*/ 120681 w 1395516"/>
                <a:gd name="connsiteY4" fmla="*/ 1023 h 1604272"/>
                <a:gd name="connsiteX0" fmla="*/ 120681 w 1398135"/>
                <a:gd name="connsiteY0" fmla="*/ 1023 h 1604272"/>
                <a:gd name="connsiteX1" fmla="*/ 108775 w 1398135"/>
                <a:gd name="connsiteY1" fmla="*/ 234385 h 1604272"/>
                <a:gd name="connsiteX2" fmla="*/ 1158906 w 1398135"/>
                <a:gd name="connsiteY2" fmla="*/ 1484542 h 1604272"/>
                <a:gd name="connsiteX3" fmla="*/ 1394650 w 1398135"/>
                <a:gd name="connsiteY3" fmla="*/ 1501210 h 1604272"/>
                <a:gd name="connsiteX4" fmla="*/ 120681 w 1398135"/>
                <a:gd name="connsiteY4" fmla="*/ 1023 h 1604272"/>
                <a:gd name="connsiteX0" fmla="*/ 120681 w 1398973"/>
                <a:gd name="connsiteY0" fmla="*/ 1023 h 1604272"/>
                <a:gd name="connsiteX1" fmla="*/ 108775 w 1398973"/>
                <a:gd name="connsiteY1" fmla="*/ 234385 h 1604272"/>
                <a:gd name="connsiteX2" fmla="*/ 1158906 w 1398973"/>
                <a:gd name="connsiteY2" fmla="*/ 1484542 h 1604272"/>
                <a:gd name="connsiteX3" fmla="*/ 1394650 w 1398973"/>
                <a:gd name="connsiteY3" fmla="*/ 1501210 h 1604272"/>
                <a:gd name="connsiteX4" fmla="*/ 120681 w 1398973"/>
                <a:gd name="connsiteY4" fmla="*/ 1023 h 1604272"/>
                <a:gd name="connsiteX0" fmla="*/ 124684 w 1402976"/>
                <a:gd name="connsiteY0" fmla="*/ 251 h 1603500"/>
                <a:gd name="connsiteX1" fmla="*/ 112778 w 1402976"/>
                <a:gd name="connsiteY1" fmla="*/ 233613 h 1603500"/>
                <a:gd name="connsiteX2" fmla="*/ 1162909 w 1402976"/>
                <a:gd name="connsiteY2" fmla="*/ 1483770 h 1603500"/>
                <a:gd name="connsiteX3" fmla="*/ 1398653 w 1402976"/>
                <a:gd name="connsiteY3" fmla="*/ 1500438 h 1603500"/>
                <a:gd name="connsiteX4" fmla="*/ 124684 w 1402976"/>
                <a:gd name="connsiteY4" fmla="*/ 251 h 160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02976" h="1603500">
                  <a:moveTo>
                    <a:pt x="124684" y="251"/>
                  </a:moveTo>
                  <a:cubicBezTo>
                    <a:pt x="-17397" y="-8480"/>
                    <a:pt x="-59465" y="213769"/>
                    <a:pt x="112778" y="233613"/>
                  </a:cubicBezTo>
                  <a:cubicBezTo>
                    <a:pt x="909703" y="298701"/>
                    <a:pt x="1216090" y="1071019"/>
                    <a:pt x="1162909" y="1483770"/>
                  </a:cubicBezTo>
                  <a:cubicBezTo>
                    <a:pt x="1151003" y="1625057"/>
                    <a:pt x="1389128" y="1654425"/>
                    <a:pt x="1398653" y="1500438"/>
                  </a:cubicBezTo>
                  <a:cubicBezTo>
                    <a:pt x="1458184" y="726532"/>
                    <a:pt x="896209" y="59781"/>
                    <a:pt x="124684" y="251"/>
                  </a:cubicBez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74328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FAE6F56-EDDD-4EF7-B77D-571C251EF4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6203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7"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8E8D3209-9C07-4840-8232-C3E2193833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IN" sz="8000" dirty="0">
              <a:latin typeface="Libre Franklin Thin" panose="020B0604020202020204" charset="0"/>
              <a:sym typeface="Libre Franklin Thin" panose="020B060402020202020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63AC92F-544C-474D-A5BF-CECED7CDA1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Thank You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065047-CFC6-436C-B470-9A71342EFFD0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 dirty="0"/>
              <a:t>25/2/2021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1C45B9C-9AF3-4D0B-9349-489E67736D5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01528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F71748D-9BAC-4CD3-B8EF-1C01B0C59E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9315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6" imgW="353" imgH="363" progId="TCLayout.ActiveDocument.1">
                  <p:embed/>
                </p:oleObj>
              </mc:Choice>
              <mc:Fallback>
                <p:oleObj name="think-cell Slide" r:id="rId6" imgW="353" imgH="36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3DB473B-449D-40A2-B039-9519995270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IN" sz="4800" dirty="0">
              <a:latin typeface="Libre Franklin Thin" panose="020B0604020202020204" charset="0"/>
              <a:sym typeface="Libre Franklin Thin" panose="020B060402020202020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F59EC7-7F75-4425-84B9-5F81AA26EB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The real life game of LIFE</a:t>
            </a:r>
          </a:p>
        </p:txBody>
      </p:sp>
      <p:sp>
        <p:nvSpPr>
          <p:cNvPr id="4" name="Google Shape;14;p11">
            <a:extLst>
              <a:ext uri="{FF2B5EF4-FFF2-40B4-BE49-F238E27FC236}">
                <a16:creationId xmlns:a16="http://schemas.microsoft.com/office/drawing/2014/main" id="{523CACD1-B6E9-484D-A93B-291133AC6C74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5" name="Google Shape;16;p11">
            <a:extLst>
              <a:ext uri="{FF2B5EF4-FFF2-40B4-BE49-F238E27FC236}">
                <a16:creationId xmlns:a16="http://schemas.microsoft.com/office/drawing/2014/main" id="{9784C0D3-4933-4B52-8B1E-2435F19A276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0" marR="0" lvl="1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0" marR="0" lvl="2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0" marR="0" lvl="3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0" marR="0" lvl="4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0" marR="0" lvl="5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0" marR="0" lvl="6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0" marR="0" lvl="7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0" marR="0" lvl="8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</a:t>
            </a:fld>
            <a:endParaRPr dirty="0"/>
          </a:p>
        </p:txBody>
      </p:sp>
      <p:pic>
        <p:nvPicPr>
          <p:cNvPr id="2053" name="Picture 5">
            <a:extLst>
              <a:ext uri="{FF2B5EF4-FFF2-40B4-BE49-F238E27FC236}">
                <a16:creationId xmlns:a16="http://schemas.microsoft.com/office/drawing/2014/main" id="{8CDF411D-05F4-447D-8484-D19230605B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02"/>
          <a:stretch/>
        </p:blipFill>
        <p:spPr bwMode="auto">
          <a:xfrm>
            <a:off x="2115949" y="1978423"/>
            <a:ext cx="7960103" cy="3652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438310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F71748D-9BAC-4CD3-B8EF-1C01B0C59E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50597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F71748D-9BAC-4CD3-B8EF-1C01B0C59E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3DB473B-449D-40A2-B039-9519995270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IN" sz="4800" dirty="0">
              <a:latin typeface="Libre Franklin Thin" panose="020B0604020202020204" charset="0"/>
              <a:sym typeface="Libre Franklin Thin" panose="020B060402020202020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F59EC7-7F75-4425-84B9-5F81AA26E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IN" dirty="0"/>
              <a:t>Committed to serving all students</a:t>
            </a:r>
          </a:p>
        </p:txBody>
      </p:sp>
      <p:sp>
        <p:nvSpPr>
          <p:cNvPr id="4" name="Google Shape;14;p11">
            <a:extLst>
              <a:ext uri="{FF2B5EF4-FFF2-40B4-BE49-F238E27FC236}">
                <a16:creationId xmlns:a16="http://schemas.microsoft.com/office/drawing/2014/main" id="{523CACD1-B6E9-484D-A93B-291133AC6C74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5" name="Google Shape;16;p11">
            <a:extLst>
              <a:ext uri="{FF2B5EF4-FFF2-40B4-BE49-F238E27FC236}">
                <a16:creationId xmlns:a16="http://schemas.microsoft.com/office/drawing/2014/main" id="{9784C0D3-4933-4B52-8B1E-2435F19A276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0" marR="0" lvl="1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0" marR="0" lvl="2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0" marR="0" lvl="3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0" marR="0" lvl="4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0" marR="0" lvl="5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0" marR="0" lvl="6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0" marR="0" lvl="7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0" marR="0" lvl="8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</a:t>
            </a:fld>
            <a:endParaRPr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40ADF3F-A72F-45FB-9721-00B51061B1BE}"/>
              </a:ext>
            </a:extLst>
          </p:cNvPr>
          <p:cNvSpPr txBox="1">
            <a:spLocks/>
          </p:cNvSpPr>
          <p:nvPr/>
        </p:nvSpPr>
        <p:spPr>
          <a:xfrm>
            <a:off x="1097280" y="1833209"/>
            <a:ext cx="10058400" cy="3385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spcFirstLastPara="1" wrap="square" lIns="91440" tIns="45720" rIns="91440" bIns="4572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600" b="1" dirty="0">
                <a:solidFill>
                  <a:schemeClr val="bg1"/>
                </a:solidFill>
              </a:rPr>
              <a:t>Filter by Student Characteristics to allow teachers to use their Knowledge of Student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D6BDA83-4A09-4E97-A29B-43B91F896D32}"/>
              </a:ext>
            </a:extLst>
          </p:cNvPr>
          <p:cNvSpPr txBox="1">
            <a:spLocks/>
          </p:cNvSpPr>
          <p:nvPr/>
        </p:nvSpPr>
        <p:spPr>
          <a:xfrm>
            <a:off x="1097281" y="2251815"/>
            <a:ext cx="3073886" cy="33855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spcFirstLastPara="1" wrap="square" lIns="91440" tIns="45720" rIns="91440" bIns="4572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600" b="1" dirty="0">
                <a:solidFill>
                  <a:schemeClr val="bg1"/>
                </a:solidFill>
              </a:rPr>
              <a:t>Standards!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FDD766BF-5BCB-454D-9367-91A27166D7E5}"/>
              </a:ext>
            </a:extLst>
          </p:cNvPr>
          <p:cNvSpPr txBox="1">
            <a:spLocks/>
          </p:cNvSpPr>
          <p:nvPr/>
        </p:nvSpPr>
        <p:spPr>
          <a:xfrm>
            <a:off x="1097281" y="2590369"/>
            <a:ext cx="3073886" cy="3293207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spcFirstLastPara="1" wrap="square" lIns="91440" tIns="45720" rIns="91440" bIns="4572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226800" indent="-22680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IN" sz="1600" dirty="0"/>
              <a:t>Employment and Income Explore job and career options. Compare sources of personal income and compensation</a:t>
            </a:r>
          </a:p>
          <a:p>
            <a:pPr marL="226800" indent="-22680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IN" sz="1600" dirty="0"/>
              <a:t>Spending and Saving Apply consumer skills to spending and saving decisions</a:t>
            </a:r>
          </a:p>
          <a:p>
            <a:pPr marL="226800" indent="-226800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IN" sz="1600" dirty="0"/>
              <a:t>Credit and Debt Analyze the costs and benefits of various types of credit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B6E92FF-C8B3-4171-8156-87C381A63C5B}"/>
              </a:ext>
            </a:extLst>
          </p:cNvPr>
          <p:cNvSpPr txBox="1">
            <a:spLocks/>
          </p:cNvSpPr>
          <p:nvPr/>
        </p:nvSpPr>
        <p:spPr>
          <a:xfrm>
            <a:off x="4271375" y="2251815"/>
            <a:ext cx="6884305" cy="33855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spcFirstLastPara="1" wrap="square" lIns="91440" tIns="45720" rIns="91440" bIns="4572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600" b="1" dirty="0">
                <a:solidFill>
                  <a:schemeClr val="bg1"/>
                </a:solidFill>
              </a:rPr>
              <a:t>Grade Level 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5FA0821-BC57-4C1D-A029-80D64F99EE8A}"/>
              </a:ext>
            </a:extLst>
          </p:cNvPr>
          <p:cNvSpPr txBox="1">
            <a:spLocks/>
          </p:cNvSpPr>
          <p:nvPr/>
        </p:nvSpPr>
        <p:spPr>
          <a:xfrm>
            <a:off x="4271375" y="2590369"/>
            <a:ext cx="6884305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spcFirstLastPara="1" wrap="square" lIns="91440" tIns="45720" rIns="91440" bIns="4572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226800" indent="-2268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IN" sz="1600" dirty="0"/>
              <a:t>High School (9-10) High School (11-12)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81F168-C93B-4ADF-A25A-4A7246A38C16}"/>
              </a:ext>
            </a:extLst>
          </p:cNvPr>
          <p:cNvSpPr txBox="1">
            <a:spLocks/>
          </p:cNvSpPr>
          <p:nvPr/>
        </p:nvSpPr>
        <p:spPr>
          <a:xfrm>
            <a:off x="4271375" y="2928923"/>
            <a:ext cx="6884305" cy="33855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spcFirstLastPara="1" wrap="square" lIns="91440" tIns="45720" rIns="91440" bIns="4572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600" b="1" dirty="0">
                <a:solidFill>
                  <a:schemeClr val="bg1"/>
                </a:solidFill>
              </a:rPr>
              <a:t>Age Range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E039008-0244-49EB-947B-FEE73F5FCB37}"/>
              </a:ext>
            </a:extLst>
          </p:cNvPr>
          <p:cNvSpPr txBox="1">
            <a:spLocks/>
          </p:cNvSpPr>
          <p:nvPr/>
        </p:nvSpPr>
        <p:spPr>
          <a:xfrm>
            <a:off x="4271375" y="3267477"/>
            <a:ext cx="6884305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spcFirstLastPara="1" wrap="square" lIns="91440" tIns="45720" rIns="91440" bIns="4572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226800" indent="-2268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IN" sz="1600" dirty="0"/>
              <a:t>13-15, 16-19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1D0B61F-B319-441E-8194-D7ACDB587E29}"/>
              </a:ext>
            </a:extLst>
          </p:cNvPr>
          <p:cNvSpPr txBox="1">
            <a:spLocks/>
          </p:cNvSpPr>
          <p:nvPr/>
        </p:nvSpPr>
        <p:spPr>
          <a:xfrm>
            <a:off x="4271375" y="3606031"/>
            <a:ext cx="6884305" cy="33855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spcFirstLastPara="1" wrap="square" lIns="91440" tIns="45720" rIns="91440" bIns="4572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600" b="1" dirty="0">
                <a:solidFill>
                  <a:schemeClr val="bg1"/>
                </a:solidFill>
              </a:rPr>
              <a:t>Student Characteristic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E3D5F98C-EDA5-47FF-B7F3-45D7F93302CB}"/>
              </a:ext>
            </a:extLst>
          </p:cNvPr>
          <p:cNvSpPr txBox="1">
            <a:spLocks/>
          </p:cNvSpPr>
          <p:nvPr/>
        </p:nvSpPr>
        <p:spPr>
          <a:xfrm>
            <a:off x="4271375" y="3944585"/>
            <a:ext cx="6884305" cy="58477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spcFirstLastPara="1" wrap="square" lIns="91440" tIns="45720" rIns="91440" bIns="4572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226800" indent="-2268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IN" sz="1600" dirty="0"/>
              <a:t>English Language Learners, Special Education, Low Income, Rural, Urba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843975D5-41BE-4A9D-9686-B8BA477E13E4}"/>
              </a:ext>
            </a:extLst>
          </p:cNvPr>
          <p:cNvSpPr txBox="1">
            <a:spLocks/>
          </p:cNvSpPr>
          <p:nvPr/>
        </p:nvSpPr>
        <p:spPr>
          <a:xfrm>
            <a:off x="4271375" y="4529360"/>
            <a:ext cx="6884305" cy="33855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spcFirstLastPara="1" wrap="square" lIns="91440" tIns="45720" rIns="91440" bIns="4572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600" b="1" dirty="0">
                <a:solidFill>
                  <a:schemeClr val="bg1"/>
                </a:solidFill>
              </a:rPr>
              <a:t>Activity Typ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93C9452-373E-415C-9C29-CF973B86628E}"/>
              </a:ext>
            </a:extLst>
          </p:cNvPr>
          <p:cNvSpPr txBox="1">
            <a:spLocks/>
          </p:cNvSpPr>
          <p:nvPr/>
        </p:nvSpPr>
        <p:spPr>
          <a:xfrm>
            <a:off x="4271375" y="4867914"/>
            <a:ext cx="6884305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spcFirstLastPara="1" wrap="square" lIns="91440" tIns="45720" rIns="91440" bIns="4572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226800" indent="-2268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IN" sz="1600" dirty="0"/>
              <a:t>Individual, Small Group, Storytime, Whole Class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ED4AA508-E766-4D6D-A7D2-FA9DE6F7113B}"/>
              </a:ext>
            </a:extLst>
          </p:cNvPr>
          <p:cNvSpPr txBox="1">
            <a:spLocks/>
          </p:cNvSpPr>
          <p:nvPr/>
        </p:nvSpPr>
        <p:spPr>
          <a:xfrm>
            <a:off x="4271375" y="5206468"/>
            <a:ext cx="6884305" cy="33855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spcFirstLastPara="1" wrap="square" lIns="91440" tIns="45720" rIns="91440" bIns="4572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600" b="1" dirty="0">
                <a:solidFill>
                  <a:schemeClr val="bg1"/>
                </a:solidFill>
              </a:rPr>
              <a:t>Bloom’s Taxonomy 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0480AE5-C988-454B-AC00-3DC459BD615C}"/>
              </a:ext>
            </a:extLst>
          </p:cNvPr>
          <p:cNvSpPr txBox="1">
            <a:spLocks/>
          </p:cNvSpPr>
          <p:nvPr/>
        </p:nvSpPr>
        <p:spPr>
          <a:xfrm>
            <a:off x="4271375" y="5545022"/>
            <a:ext cx="6884305" cy="33855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spcFirstLastPara="1" wrap="square" lIns="91440" tIns="45720" rIns="91440" bIns="4572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226800" indent="-22680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IN" sz="1600" dirty="0"/>
              <a:t>Remember, Understand, Apply, Analyze, Evaluate &amp; Create</a:t>
            </a:r>
          </a:p>
        </p:txBody>
      </p:sp>
    </p:spTree>
    <p:extLst>
      <p:ext uri="{BB962C8B-B14F-4D97-AF65-F5344CB8AC3E}">
        <p14:creationId xmlns:p14="http://schemas.microsoft.com/office/powerpoint/2010/main" val="15627196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F71748D-9BAC-4CD3-B8EF-1C01B0C59E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72888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F71748D-9BAC-4CD3-B8EF-1C01B0C59E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3DB473B-449D-40A2-B039-9519995270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IN" sz="4800" dirty="0">
              <a:latin typeface="Libre Franklin Thin" panose="020B0604020202020204" charset="0"/>
              <a:sym typeface="Libre Franklin Thin" panose="020B060402020202020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F59EC7-7F75-4425-84B9-5F81AA26E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IN" dirty="0"/>
              <a:t>College!</a:t>
            </a:r>
          </a:p>
        </p:txBody>
      </p:sp>
      <p:sp>
        <p:nvSpPr>
          <p:cNvPr id="4" name="Google Shape;14;p11">
            <a:extLst>
              <a:ext uri="{FF2B5EF4-FFF2-40B4-BE49-F238E27FC236}">
                <a16:creationId xmlns:a16="http://schemas.microsoft.com/office/drawing/2014/main" id="{523CACD1-B6E9-484D-A93B-291133AC6C74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5" name="Google Shape;16;p11">
            <a:extLst>
              <a:ext uri="{FF2B5EF4-FFF2-40B4-BE49-F238E27FC236}">
                <a16:creationId xmlns:a16="http://schemas.microsoft.com/office/drawing/2014/main" id="{9784C0D3-4933-4B52-8B1E-2435F19A276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0" marR="0" lvl="1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0" marR="0" lvl="2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0" marR="0" lvl="3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0" marR="0" lvl="4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0" marR="0" lvl="5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0" marR="0" lvl="6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0" marR="0" lvl="7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0" marR="0" lvl="8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4</a:t>
            </a:fld>
            <a:endParaRPr dirty="0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4C12BAF-7CAB-4D30-B653-46171B8D3151}"/>
              </a:ext>
            </a:extLst>
          </p:cNvPr>
          <p:cNvSpPr txBox="1">
            <a:spLocks/>
          </p:cNvSpPr>
          <p:nvPr/>
        </p:nvSpPr>
        <p:spPr>
          <a:xfrm>
            <a:off x="3180987" y="3548833"/>
            <a:ext cx="6055080" cy="76241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spcFirstLastPara="1" wrap="square" lIns="432000" tIns="45720" rIns="91440" bIns="4572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2200" dirty="0"/>
              <a:t>What are the costs?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B50AB5BC-ED5F-4F98-91BC-BDC5565F3429}"/>
              </a:ext>
            </a:extLst>
          </p:cNvPr>
          <p:cNvSpPr txBox="1">
            <a:spLocks/>
          </p:cNvSpPr>
          <p:nvPr/>
        </p:nvSpPr>
        <p:spPr>
          <a:xfrm>
            <a:off x="3180987" y="4672000"/>
            <a:ext cx="6055080" cy="762413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spcFirstLastPara="1" wrap="square" lIns="432000" tIns="45720" rIns="91440" bIns="4572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2200" dirty="0"/>
              <a:t>What are the benefits?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05B4296F-5AEF-4FA3-8DD1-E1C6CAF6FC4E}"/>
              </a:ext>
            </a:extLst>
          </p:cNvPr>
          <p:cNvSpPr txBox="1">
            <a:spLocks/>
          </p:cNvSpPr>
          <p:nvPr/>
        </p:nvSpPr>
        <p:spPr>
          <a:xfrm>
            <a:off x="2955934" y="3697352"/>
            <a:ext cx="465376" cy="465376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txBody>
          <a:bodyPr spcFirstLastPara="1" wrap="square" lIns="91440" tIns="45720" rIns="91440" bIns="4572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IN" sz="2200" dirty="0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5189DD12-6382-4EC3-AFDF-95B734F35E27}"/>
              </a:ext>
            </a:extLst>
          </p:cNvPr>
          <p:cNvSpPr txBox="1">
            <a:spLocks/>
          </p:cNvSpPr>
          <p:nvPr/>
        </p:nvSpPr>
        <p:spPr>
          <a:xfrm>
            <a:off x="2955934" y="4820518"/>
            <a:ext cx="465376" cy="465376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txBody>
          <a:bodyPr spcFirstLastPara="1" wrap="square" lIns="91440" tIns="45720" rIns="91440" bIns="45720" anchor="ctr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IN" sz="2200" dirty="0"/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EFB56A5-C0C6-483F-9ABA-78C2CB9C49C2}"/>
              </a:ext>
            </a:extLst>
          </p:cNvPr>
          <p:cNvGrpSpPr/>
          <p:nvPr/>
        </p:nvGrpSpPr>
        <p:grpSpPr>
          <a:xfrm>
            <a:off x="2955934" y="2425667"/>
            <a:ext cx="6280132" cy="762413"/>
            <a:chOff x="2955934" y="2425667"/>
            <a:chExt cx="6280132" cy="762413"/>
          </a:xfrm>
        </p:grpSpPr>
        <p:sp>
          <p:nvSpPr>
            <p:cNvPr id="13" name="Text Placeholder 2">
              <a:extLst>
                <a:ext uri="{FF2B5EF4-FFF2-40B4-BE49-F238E27FC236}">
                  <a16:creationId xmlns:a16="http://schemas.microsoft.com/office/drawing/2014/main" id="{FDD766BF-5BCB-454D-9367-91A27166D7E5}"/>
                </a:ext>
              </a:extLst>
            </p:cNvPr>
            <p:cNvSpPr txBox="1">
              <a:spLocks/>
            </p:cNvSpPr>
            <p:nvPr/>
          </p:nvSpPr>
          <p:spPr>
            <a:xfrm>
              <a:off x="3180986" y="2425667"/>
              <a:ext cx="6055080" cy="762413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txBody>
            <a:bodyPr spcFirstLastPara="1" wrap="square" lIns="432000" tIns="45720" rIns="91440" bIns="4572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 "/>
                <a:defRPr sz="20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1pPr>
              <a:lvl2pPr marL="914400" marR="0" lvl="1" indent="-342900" algn="l" rtl="0">
                <a:lnSpc>
                  <a:spcPct val="9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8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2pPr>
              <a:lvl3pPr marL="1371600" marR="0" lvl="2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3pPr>
              <a:lvl4pPr marL="1828800" marR="0" lvl="3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4pPr>
              <a:lvl5pPr marL="2286000" marR="0" lvl="4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5pPr>
              <a:lvl6pPr marL="2743200" marR="0" lvl="5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6pPr>
              <a:lvl7pPr marL="3200400" marR="0" lvl="6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7pPr>
              <a:lvl8pPr marL="3657600" marR="0" lvl="7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8pPr>
              <a:lvl9pPr marL="4114800" marR="0" lvl="8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IN" sz="2200" dirty="0"/>
                <a:t>Who’s planning to go to college?</a:t>
              </a:r>
            </a:p>
          </p:txBody>
        </p:sp>
        <p:sp>
          <p:nvSpPr>
            <p:cNvPr id="26" name="Text Placeholder 2">
              <a:extLst>
                <a:ext uri="{FF2B5EF4-FFF2-40B4-BE49-F238E27FC236}">
                  <a16:creationId xmlns:a16="http://schemas.microsoft.com/office/drawing/2014/main" id="{E949D0C4-645E-4981-A8C3-93912E6E9916}"/>
                </a:ext>
              </a:extLst>
            </p:cNvPr>
            <p:cNvSpPr txBox="1">
              <a:spLocks/>
            </p:cNvSpPr>
            <p:nvPr/>
          </p:nvSpPr>
          <p:spPr>
            <a:xfrm>
              <a:off x="2955934" y="2574185"/>
              <a:ext cx="465376" cy="465376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txBody>
            <a:bodyPr spcFirstLastPara="1" wrap="square" lIns="91440" tIns="45720" rIns="91440" bIns="45720" anchor="ctr" anchorCtr="0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457200" marR="0" lvl="0" indent="-342900" algn="l" rtl="0">
                <a:lnSpc>
                  <a:spcPct val="90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 "/>
                <a:defRPr sz="20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1pPr>
              <a:lvl2pPr marL="914400" marR="0" lvl="1" indent="-342900" algn="l" rtl="0">
                <a:lnSpc>
                  <a:spcPct val="90000"/>
                </a:lnSpc>
                <a:spcBef>
                  <a:spcPts val="2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8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2pPr>
              <a:lvl3pPr marL="1371600" marR="0" lvl="2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3pPr>
              <a:lvl4pPr marL="1828800" marR="0" lvl="3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4pPr>
              <a:lvl5pPr marL="2286000" marR="0" lvl="4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5pPr>
              <a:lvl6pPr marL="2743200" marR="0" lvl="5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6pPr>
              <a:lvl7pPr marL="3200400" marR="0" lvl="6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7pPr>
              <a:lvl8pPr marL="3657600" marR="0" lvl="7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8pPr>
              <a:lvl9pPr marL="4114800" marR="0" lvl="8" indent="-342900" algn="l" rtl="0">
                <a:lnSpc>
                  <a:spcPct val="90000"/>
                </a:lnSpc>
                <a:spcBef>
                  <a:spcPts val="400"/>
                </a:spcBef>
                <a:spcAft>
                  <a:spcPts val="400"/>
                </a:spcAft>
                <a:buClr>
                  <a:schemeClr val="accent1"/>
                </a:buClr>
                <a:buSzPts val="1800"/>
                <a:buFont typeface="Calibri"/>
                <a:buChar char="◦"/>
                <a:defRPr sz="1400" b="0" i="0" u="none" strike="noStrike" cap="none">
                  <a:solidFill>
                    <a:srgbClr val="3F3F3F"/>
                  </a:solidFill>
                  <a:latin typeface="Libre Franklin"/>
                  <a:ea typeface="Libre Franklin"/>
                  <a:cs typeface="Libre Franklin"/>
                  <a:sym typeface="Libre Franklin"/>
                </a:defRPr>
              </a:lvl9pPr>
            </a:lstStyle>
            <a:p>
              <a:pPr marL="0" indent="0">
                <a:lnSpc>
                  <a:spcPct val="100000"/>
                </a:lnSpc>
                <a:spcBef>
                  <a:spcPts val="0"/>
                </a:spcBef>
                <a:buNone/>
              </a:pPr>
              <a:endParaRPr lang="en-IN" sz="2200" dirty="0"/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6CA83C56-1FD9-4A78-944E-999708B55ADC}"/>
                </a:ext>
              </a:extLst>
            </p:cNvPr>
            <p:cNvGrpSpPr/>
            <p:nvPr/>
          </p:nvGrpSpPr>
          <p:grpSpPr>
            <a:xfrm>
              <a:off x="3027420" y="2702823"/>
              <a:ext cx="257615" cy="208100"/>
              <a:chOff x="3027420" y="2698875"/>
              <a:chExt cx="257615" cy="208100"/>
            </a:xfrm>
          </p:grpSpPr>
          <p:sp>
            <p:nvSpPr>
              <p:cNvPr id="7" name="Half Frame 6">
                <a:extLst>
                  <a:ext uri="{FF2B5EF4-FFF2-40B4-BE49-F238E27FC236}">
                    <a16:creationId xmlns:a16="http://schemas.microsoft.com/office/drawing/2014/main" id="{73260EF0-9361-4A7A-9ABA-EB2D8C3299DE}"/>
                  </a:ext>
                </a:extLst>
              </p:cNvPr>
              <p:cNvSpPr/>
              <p:nvPr/>
            </p:nvSpPr>
            <p:spPr>
              <a:xfrm rot="8067854">
                <a:off x="3076935" y="2698875"/>
                <a:ext cx="208100" cy="208100"/>
              </a:xfrm>
              <a:prstGeom prst="halfFrame">
                <a:avLst>
                  <a:gd name="adj1" fmla="val 23654"/>
                  <a:gd name="adj2" fmla="val 23553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Half Frame 28">
                <a:extLst>
                  <a:ext uri="{FF2B5EF4-FFF2-40B4-BE49-F238E27FC236}">
                    <a16:creationId xmlns:a16="http://schemas.microsoft.com/office/drawing/2014/main" id="{2E6B2BB8-4008-4D79-A9EB-B42446741685}"/>
                  </a:ext>
                </a:extLst>
              </p:cNvPr>
              <p:cNvSpPr/>
              <p:nvPr/>
            </p:nvSpPr>
            <p:spPr>
              <a:xfrm rot="8067854">
                <a:off x="3027420" y="2727648"/>
                <a:ext cx="150555" cy="150555"/>
              </a:xfrm>
              <a:prstGeom prst="halfFrame">
                <a:avLst>
                  <a:gd name="adj1" fmla="val 23654"/>
                  <a:gd name="adj2" fmla="val 23553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 dirty="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70223CD-25AE-4970-AFB4-01F4D648EE1F}"/>
              </a:ext>
            </a:extLst>
          </p:cNvPr>
          <p:cNvGrpSpPr/>
          <p:nvPr/>
        </p:nvGrpSpPr>
        <p:grpSpPr>
          <a:xfrm>
            <a:off x="3027420" y="3825990"/>
            <a:ext cx="257615" cy="208100"/>
            <a:chOff x="3027420" y="2698875"/>
            <a:chExt cx="257615" cy="208100"/>
          </a:xfrm>
        </p:grpSpPr>
        <p:sp>
          <p:nvSpPr>
            <p:cNvPr id="31" name="Half Frame 30">
              <a:extLst>
                <a:ext uri="{FF2B5EF4-FFF2-40B4-BE49-F238E27FC236}">
                  <a16:creationId xmlns:a16="http://schemas.microsoft.com/office/drawing/2014/main" id="{6AA3823B-69C6-415B-82D5-FEF01FD83AE7}"/>
                </a:ext>
              </a:extLst>
            </p:cNvPr>
            <p:cNvSpPr/>
            <p:nvPr/>
          </p:nvSpPr>
          <p:spPr>
            <a:xfrm rot="8067854">
              <a:off x="3076935" y="2698875"/>
              <a:ext cx="208100" cy="208100"/>
            </a:xfrm>
            <a:prstGeom prst="halfFrame">
              <a:avLst>
                <a:gd name="adj1" fmla="val 23654"/>
                <a:gd name="adj2" fmla="val 2355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chemeClr val="tx1"/>
                </a:solidFill>
              </a:endParaRPr>
            </a:p>
          </p:txBody>
        </p:sp>
        <p:sp>
          <p:nvSpPr>
            <p:cNvPr id="32" name="Half Frame 31">
              <a:extLst>
                <a:ext uri="{FF2B5EF4-FFF2-40B4-BE49-F238E27FC236}">
                  <a16:creationId xmlns:a16="http://schemas.microsoft.com/office/drawing/2014/main" id="{242ABDE8-5F65-485A-B52B-BB6BA156E89D}"/>
                </a:ext>
              </a:extLst>
            </p:cNvPr>
            <p:cNvSpPr/>
            <p:nvPr/>
          </p:nvSpPr>
          <p:spPr>
            <a:xfrm rot="8067854">
              <a:off x="3027420" y="2727648"/>
              <a:ext cx="150555" cy="150555"/>
            </a:xfrm>
            <a:prstGeom prst="halfFrame">
              <a:avLst>
                <a:gd name="adj1" fmla="val 23654"/>
                <a:gd name="adj2" fmla="val 2355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1C9321B-6E62-416D-BDBF-A4ACA44570CF}"/>
              </a:ext>
            </a:extLst>
          </p:cNvPr>
          <p:cNvGrpSpPr/>
          <p:nvPr/>
        </p:nvGrpSpPr>
        <p:grpSpPr>
          <a:xfrm>
            <a:off x="3027420" y="4949156"/>
            <a:ext cx="257615" cy="208100"/>
            <a:chOff x="3027420" y="2698875"/>
            <a:chExt cx="257615" cy="208100"/>
          </a:xfrm>
        </p:grpSpPr>
        <p:sp>
          <p:nvSpPr>
            <p:cNvPr id="34" name="Half Frame 33">
              <a:extLst>
                <a:ext uri="{FF2B5EF4-FFF2-40B4-BE49-F238E27FC236}">
                  <a16:creationId xmlns:a16="http://schemas.microsoft.com/office/drawing/2014/main" id="{16FA23CB-8FEB-44A0-AD02-0CC7718999FA}"/>
                </a:ext>
              </a:extLst>
            </p:cNvPr>
            <p:cNvSpPr/>
            <p:nvPr/>
          </p:nvSpPr>
          <p:spPr>
            <a:xfrm rot="8067854">
              <a:off x="3076935" y="2698875"/>
              <a:ext cx="208100" cy="208100"/>
            </a:xfrm>
            <a:prstGeom prst="halfFrame">
              <a:avLst>
                <a:gd name="adj1" fmla="val 23654"/>
                <a:gd name="adj2" fmla="val 2355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chemeClr val="tx1"/>
                </a:solidFill>
              </a:endParaRPr>
            </a:p>
          </p:txBody>
        </p:sp>
        <p:sp>
          <p:nvSpPr>
            <p:cNvPr id="35" name="Half Frame 34">
              <a:extLst>
                <a:ext uri="{FF2B5EF4-FFF2-40B4-BE49-F238E27FC236}">
                  <a16:creationId xmlns:a16="http://schemas.microsoft.com/office/drawing/2014/main" id="{46499184-8D8F-43CE-B176-85AFF724F6EC}"/>
                </a:ext>
              </a:extLst>
            </p:cNvPr>
            <p:cNvSpPr/>
            <p:nvPr/>
          </p:nvSpPr>
          <p:spPr>
            <a:xfrm rot="8067854">
              <a:off x="3027420" y="2727648"/>
              <a:ext cx="150555" cy="150555"/>
            </a:xfrm>
            <a:prstGeom prst="halfFrame">
              <a:avLst>
                <a:gd name="adj1" fmla="val 23654"/>
                <a:gd name="adj2" fmla="val 23553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2158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F71748D-9BAC-4CD3-B8EF-1C01B0C59E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7378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8" name="think-cell Slide" r:id="rId6" imgW="353" imgH="363" progId="TCLayout.ActiveDocument.1">
                  <p:embed/>
                </p:oleObj>
              </mc:Choice>
              <mc:Fallback>
                <p:oleObj name="think-cell Slide" r:id="rId6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F71748D-9BAC-4CD3-B8EF-1C01B0C59E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3DB473B-449D-40A2-B039-9519995270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IN" sz="4800" dirty="0">
              <a:latin typeface="Libre Franklin Thin" panose="020B0604020202020204" charset="0"/>
              <a:sym typeface="Libre Franklin Thin" panose="020B060402020202020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F59EC7-7F75-4425-84B9-5F81AA26E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IN" dirty="0"/>
              <a:t>College as an investment in </a:t>
            </a:r>
            <a:br>
              <a:rPr lang="en-IN" dirty="0"/>
            </a:br>
            <a:r>
              <a:rPr lang="en-IN" dirty="0"/>
              <a:t>human capital</a:t>
            </a:r>
          </a:p>
        </p:txBody>
      </p:sp>
      <p:sp>
        <p:nvSpPr>
          <p:cNvPr id="4" name="Google Shape;14;p11">
            <a:extLst>
              <a:ext uri="{FF2B5EF4-FFF2-40B4-BE49-F238E27FC236}">
                <a16:creationId xmlns:a16="http://schemas.microsoft.com/office/drawing/2014/main" id="{523CACD1-B6E9-484D-A93B-291133AC6C74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5" name="Google Shape;16;p11">
            <a:extLst>
              <a:ext uri="{FF2B5EF4-FFF2-40B4-BE49-F238E27FC236}">
                <a16:creationId xmlns:a16="http://schemas.microsoft.com/office/drawing/2014/main" id="{9784C0D3-4933-4B52-8B1E-2435F19A276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0" marR="0" lvl="1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0" marR="0" lvl="2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0" marR="0" lvl="3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0" marR="0" lvl="4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0" marR="0" lvl="5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0" marR="0" lvl="6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0" marR="0" lvl="7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0" marR="0" lvl="8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5</a:t>
            </a:fld>
            <a:endParaRPr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A28E0E7-1095-4348-9191-39D9F6BA3313}"/>
              </a:ext>
            </a:extLst>
          </p:cNvPr>
          <p:cNvSpPr txBox="1">
            <a:spLocks/>
          </p:cNvSpPr>
          <p:nvPr/>
        </p:nvSpPr>
        <p:spPr>
          <a:xfrm>
            <a:off x="1097280" y="1833209"/>
            <a:ext cx="10058400" cy="3240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spcFirstLastPara="1" wrap="square" lIns="91440" tIns="45720" rIns="91440" bIns="4572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400" b="1" dirty="0">
                <a:solidFill>
                  <a:schemeClr val="bg1"/>
                </a:solidFill>
              </a:rPr>
              <a:t>Unemployment rates and earnings by educational attainment, 2019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14B3064C-200B-4C54-9E29-753DCD234E7A}"/>
              </a:ext>
            </a:extLst>
          </p:cNvPr>
          <p:cNvSpPr txBox="1">
            <a:spLocks/>
          </p:cNvSpPr>
          <p:nvPr/>
        </p:nvSpPr>
        <p:spPr>
          <a:xfrm>
            <a:off x="1092199" y="5899759"/>
            <a:ext cx="1012028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000" dirty="0"/>
              <a:t>Note: Data are for persons age 25 and over. Earnings are for full-time wage and salary worker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000" dirty="0"/>
              <a:t>Source: U.S. Bureau of Labor Statistics, Current Population Survey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E54ECE99-DCAE-4270-9B46-6665C0437431}"/>
              </a:ext>
            </a:extLst>
          </p:cNvPr>
          <p:cNvSpPr txBox="1">
            <a:spLocks/>
          </p:cNvSpPr>
          <p:nvPr/>
        </p:nvSpPr>
        <p:spPr>
          <a:xfrm>
            <a:off x="1097281" y="2228900"/>
            <a:ext cx="4925234" cy="324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spcFirstLastPara="1" wrap="square" lIns="91440" tIns="45720" rIns="91440" bIns="4572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400" b="1" dirty="0">
                <a:solidFill>
                  <a:schemeClr val="bg1"/>
                </a:solidFill>
              </a:rPr>
              <a:t>Unemployment rate (%)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2E5B4C12-B5BC-44B6-AD06-40302E134B0B}"/>
              </a:ext>
            </a:extLst>
          </p:cNvPr>
          <p:cNvSpPr txBox="1">
            <a:spLocks/>
          </p:cNvSpPr>
          <p:nvPr/>
        </p:nvSpPr>
        <p:spPr>
          <a:xfrm>
            <a:off x="6230446" y="2228900"/>
            <a:ext cx="4925234" cy="3240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spcFirstLastPara="1" wrap="square" lIns="91440" tIns="45720" rIns="91440" bIns="4572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400" b="1" dirty="0">
                <a:solidFill>
                  <a:schemeClr val="bg1"/>
                </a:solidFill>
              </a:rPr>
              <a:t>Median usual weekly earnings($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C3FC8786-05F6-49D1-BBE6-FA8454D88CE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1594741"/>
              </p:ext>
            </p:extLst>
          </p:nvPr>
        </p:nvGraphicFramePr>
        <p:xfrm>
          <a:off x="1097280" y="2622701"/>
          <a:ext cx="4925234" cy="3026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AE52A24B-BEE5-4EC2-AD7C-8619DA485076}"/>
              </a:ext>
            </a:extLst>
          </p:cNvPr>
          <p:cNvSpPr txBox="1">
            <a:spLocks/>
          </p:cNvSpPr>
          <p:nvPr/>
        </p:nvSpPr>
        <p:spPr>
          <a:xfrm>
            <a:off x="4013962" y="5561205"/>
            <a:ext cx="125675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11430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600" b="1" dirty="0">
                <a:solidFill>
                  <a:schemeClr val="accent3"/>
                </a:solidFill>
              </a:rPr>
              <a:t>Total: 3.0%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532318AF-45BD-4790-97E1-239EFB8ACBDC}"/>
              </a:ext>
            </a:extLst>
          </p:cNvPr>
          <p:cNvCxnSpPr/>
          <p:nvPr/>
        </p:nvCxnSpPr>
        <p:spPr>
          <a:xfrm>
            <a:off x="4642339" y="2705622"/>
            <a:ext cx="0" cy="2755375"/>
          </a:xfrm>
          <a:prstGeom prst="line">
            <a:avLst/>
          </a:prstGeom>
          <a:ln w="190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Chart 39">
            <a:extLst>
              <a:ext uri="{FF2B5EF4-FFF2-40B4-BE49-F238E27FC236}">
                <a16:creationId xmlns:a16="http://schemas.microsoft.com/office/drawing/2014/main" id="{27BD2207-E1ED-400D-9F1F-DEBE8611A6A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23293491"/>
              </p:ext>
            </p:extLst>
          </p:nvPr>
        </p:nvGraphicFramePr>
        <p:xfrm>
          <a:off x="6230446" y="2622701"/>
          <a:ext cx="4925234" cy="3026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702A9EB3-06F2-4EA3-881C-424CCCAEED10}"/>
              </a:ext>
            </a:extLst>
          </p:cNvPr>
          <p:cNvSpPr txBox="1">
            <a:spLocks/>
          </p:cNvSpPr>
          <p:nvPr/>
        </p:nvSpPr>
        <p:spPr>
          <a:xfrm>
            <a:off x="7505019" y="5561205"/>
            <a:ext cx="1938031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11430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600" b="1" dirty="0">
                <a:solidFill>
                  <a:schemeClr val="accent3"/>
                </a:solidFill>
              </a:rPr>
              <a:t>All workers : $969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9416BE4D-F0CD-428A-A5D6-B8F65991321D}"/>
              </a:ext>
            </a:extLst>
          </p:cNvPr>
          <p:cNvCxnSpPr/>
          <p:nvPr/>
        </p:nvCxnSpPr>
        <p:spPr>
          <a:xfrm>
            <a:off x="8474034" y="2705622"/>
            <a:ext cx="0" cy="2755375"/>
          </a:xfrm>
          <a:prstGeom prst="line">
            <a:avLst/>
          </a:prstGeom>
          <a:ln w="19050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819E22CE-7254-496E-B329-ED8707FAC096}"/>
              </a:ext>
            </a:extLst>
          </p:cNvPr>
          <p:cNvSpPr txBox="1">
            <a:spLocks/>
          </p:cNvSpPr>
          <p:nvPr/>
        </p:nvSpPr>
        <p:spPr>
          <a:xfrm>
            <a:off x="9632515" y="4570746"/>
            <a:ext cx="1523165" cy="132901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txBody>
          <a:bodyPr spcFirstLastPara="1" wrap="square" lIns="54000" tIns="18000" rIns="54000" bIns="180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400" b="1" dirty="0">
                <a:solidFill>
                  <a:schemeClr val="bg1"/>
                </a:solidFill>
              </a:rPr>
              <a:t> Menti: What’s the relationship between level of education and median weekly income</a:t>
            </a:r>
          </a:p>
        </p:txBody>
      </p:sp>
    </p:spTree>
    <p:extLst>
      <p:ext uri="{BB962C8B-B14F-4D97-AF65-F5344CB8AC3E}">
        <p14:creationId xmlns:p14="http://schemas.microsoft.com/office/powerpoint/2010/main" val="27855203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F71748D-9BAC-4CD3-B8EF-1C01B0C59E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3146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3" name="think-cell Slide" r:id="rId5" imgW="353" imgH="363" progId="TCLayout.ActiveDocument.1">
                  <p:embed/>
                </p:oleObj>
              </mc:Choice>
              <mc:Fallback>
                <p:oleObj name="think-cell Slide" r:id="rId5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F71748D-9BAC-4CD3-B8EF-1C01B0C59E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3DB473B-449D-40A2-B039-9519995270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IN" sz="4800" dirty="0">
              <a:latin typeface="Libre Franklin Thin" panose="020B0604020202020204" charset="0"/>
              <a:sym typeface="Libre Franklin Thin" panose="020B0604020202020204" charset="0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91FBCD3A-4A44-466F-81E3-58E020FAE068}"/>
              </a:ext>
            </a:extLst>
          </p:cNvPr>
          <p:cNvSpPr txBox="1">
            <a:spLocks/>
          </p:cNvSpPr>
          <p:nvPr/>
        </p:nvSpPr>
        <p:spPr>
          <a:xfrm>
            <a:off x="4669183" y="2346959"/>
            <a:ext cx="140812" cy="268197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40" tIns="45720" rIns="91440" bIns="4572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en-IN" sz="1600" b="1" dirty="0">
              <a:solidFill>
                <a:schemeClr val="bg1"/>
              </a:solidFill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BF8AED7B-25F1-492B-98DB-527591673C6B}"/>
              </a:ext>
            </a:extLst>
          </p:cNvPr>
          <p:cNvSpPr txBox="1">
            <a:spLocks/>
          </p:cNvSpPr>
          <p:nvPr/>
        </p:nvSpPr>
        <p:spPr>
          <a:xfrm>
            <a:off x="6523034" y="2346959"/>
            <a:ext cx="303652" cy="268197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40" tIns="45720" rIns="91440" bIns="4572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en-IN" sz="1600" b="1" dirty="0">
              <a:solidFill>
                <a:schemeClr val="bg1"/>
              </a:solidFill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35ECEE2A-02C8-407B-BAD3-A09ECBA10521}"/>
              </a:ext>
            </a:extLst>
          </p:cNvPr>
          <p:cNvSpPr txBox="1">
            <a:spLocks/>
          </p:cNvSpPr>
          <p:nvPr/>
        </p:nvSpPr>
        <p:spPr>
          <a:xfrm>
            <a:off x="10506414" y="2346959"/>
            <a:ext cx="303652" cy="268197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40" tIns="45720" rIns="91440" bIns="4572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en-IN" sz="1600" b="1" dirty="0">
              <a:solidFill>
                <a:schemeClr val="bg1"/>
              </a:solidFill>
            </a:endParaRP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E0D71D2E-EB53-4FFA-937C-A1CBAF68880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2548424"/>
              </p:ext>
            </p:extLst>
          </p:nvPr>
        </p:nvGraphicFramePr>
        <p:xfrm>
          <a:off x="1097280" y="2105025"/>
          <a:ext cx="10058400" cy="3209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CB712DB8-172B-42C6-9BD1-40C6C18D1406}"/>
              </a:ext>
            </a:extLst>
          </p:cNvPr>
          <p:cNvSpPr/>
          <p:nvPr/>
        </p:nvSpPr>
        <p:spPr>
          <a:xfrm>
            <a:off x="1874520" y="3817620"/>
            <a:ext cx="8923020" cy="1013460"/>
          </a:xfrm>
          <a:custGeom>
            <a:avLst/>
            <a:gdLst>
              <a:gd name="connsiteX0" fmla="*/ 0 w 8923020"/>
              <a:gd name="connsiteY0" fmla="*/ 716280 h 1013460"/>
              <a:gd name="connsiteX1" fmla="*/ 53340 w 8923020"/>
              <a:gd name="connsiteY1" fmla="*/ 754380 h 1013460"/>
              <a:gd name="connsiteX2" fmla="*/ 106680 w 8923020"/>
              <a:gd name="connsiteY2" fmla="*/ 784860 h 1013460"/>
              <a:gd name="connsiteX3" fmla="*/ 137160 w 8923020"/>
              <a:gd name="connsiteY3" fmla="*/ 731520 h 1013460"/>
              <a:gd name="connsiteX4" fmla="*/ 205740 w 8923020"/>
              <a:gd name="connsiteY4" fmla="*/ 701040 h 1013460"/>
              <a:gd name="connsiteX5" fmla="*/ 274320 w 8923020"/>
              <a:gd name="connsiteY5" fmla="*/ 754380 h 1013460"/>
              <a:gd name="connsiteX6" fmla="*/ 281940 w 8923020"/>
              <a:gd name="connsiteY6" fmla="*/ 792480 h 1013460"/>
              <a:gd name="connsiteX7" fmla="*/ 312420 w 8923020"/>
              <a:gd name="connsiteY7" fmla="*/ 716280 h 1013460"/>
              <a:gd name="connsiteX8" fmla="*/ 365760 w 8923020"/>
              <a:gd name="connsiteY8" fmla="*/ 746760 h 1013460"/>
              <a:gd name="connsiteX9" fmla="*/ 396240 w 8923020"/>
              <a:gd name="connsiteY9" fmla="*/ 815340 h 1013460"/>
              <a:gd name="connsiteX10" fmla="*/ 426720 w 8923020"/>
              <a:gd name="connsiteY10" fmla="*/ 754380 h 1013460"/>
              <a:gd name="connsiteX11" fmla="*/ 487680 w 8923020"/>
              <a:gd name="connsiteY11" fmla="*/ 777240 h 1013460"/>
              <a:gd name="connsiteX12" fmla="*/ 541020 w 8923020"/>
              <a:gd name="connsiteY12" fmla="*/ 792480 h 1013460"/>
              <a:gd name="connsiteX13" fmla="*/ 579120 w 8923020"/>
              <a:gd name="connsiteY13" fmla="*/ 830580 h 1013460"/>
              <a:gd name="connsiteX14" fmla="*/ 617220 w 8923020"/>
              <a:gd name="connsiteY14" fmla="*/ 784860 h 1013460"/>
              <a:gd name="connsiteX15" fmla="*/ 662940 w 8923020"/>
              <a:gd name="connsiteY15" fmla="*/ 807720 h 1013460"/>
              <a:gd name="connsiteX16" fmla="*/ 716280 w 8923020"/>
              <a:gd name="connsiteY16" fmla="*/ 868680 h 1013460"/>
              <a:gd name="connsiteX17" fmla="*/ 762000 w 8923020"/>
              <a:gd name="connsiteY17" fmla="*/ 800100 h 1013460"/>
              <a:gd name="connsiteX18" fmla="*/ 822960 w 8923020"/>
              <a:gd name="connsiteY18" fmla="*/ 769620 h 1013460"/>
              <a:gd name="connsiteX19" fmla="*/ 891540 w 8923020"/>
              <a:gd name="connsiteY19" fmla="*/ 929640 h 1013460"/>
              <a:gd name="connsiteX20" fmla="*/ 914400 w 8923020"/>
              <a:gd name="connsiteY20" fmla="*/ 868680 h 1013460"/>
              <a:gd name="connsiteX21" fmla="*/ 952500 w 8923020"/>
              <a:gd name="connsiteY21" fmla="*/ 876300 h 1013460"/>
              <a:gd name="connsiteX22" fmla="*/ 975360 w 8923020"/>
              <a:gd name="connsiteY22" fmla="*/ 861060 h 1013460"/>
              <a:gd name="connsiteX23" fmla="*/ 1021080 w 8923020"/>
              <a:gd name="connsiteY23" fmla="*/ 868680 h 1013460"/>
              <a:gd name="connsiteX24" fmla="*/ 1028700 w 8923020"/>
              <a:gd name="connsiteY24" fmla="*/ 822960 h 1013460"/>
              <a:gd name="connsiteX25" fmla="*/ 1112520 w 8923020"/>
              <a:gd name="connsiteY25" fmla="*/ 769620 h 1013460"/>
              <a:gd name="connsiteX26" fmla="*/ 1150620 w 8923020"/>
              <a:gd name="connsiteY26" fmla="*/ 891540 h 1013460"/>
              <a:gd name="connsiteX27" fmla="*/ 1188720 w 8923020"/>
              <a:gd name="connsiteY27" fmla="*/ 906780 h 1013460"/>
              <a:gd name="connsiteX28" fmla="*/ 1226820 w 8923020"/>
              <a:gd name="connsiteY28" fmla="*/ 868680 h 1013460"/>
              <a:gd name="connsiteX29" fmla="*/ 1295400 w 8923020"/>
              <a:gd name="connsiteY29" fmla="*/ 914400 h 1013460"/>
              <a:gd name="connsiteX30" fmla="*/ 1394460 w 8923020"/>
              <a:gd name="connsiteY30" fmla="*/ 861060 h 1013460"/>
              <a:gd name="connsiteX31" fmla="*/ 1455420 w 8923020"/>
              <a:gd name="connsiteY31" fmla="*/ 922020 h 1013460"/>
              <a:gd name="connsiteX32" fmla="*/ 1539240 w 8923020"/>
              <a:gd name="connsiteY32" fmla="*/ 922020 h 1013460"/>
              <a:gd name="connsiteX33" fmla="*/ 1600200 w 8923020"/>
              <a:gd name="connsiteY33" fmla="*/ 967740 h 1013460"/>
              <a:gd name="connsiteX34" fmla="*/ 1737360 w 8923020"/>
              <a:gd name="connsiteY34" fmla="*/ 838200 h 1013460"/>
              <a:gd name="connsiteX35" fmla="*/ 1821180 w 8923020"/>
              <a:gd name="connsiteY35" fmla="*/ 998220 h 1013460"/>
              <a:gd name="connsiteX36" fmla="*/ 1844040 w 8923020"/>
              <a:gd name="connsiteY36" fmla="*/ 914400 h 1013460"/>
              <a:gd name="connsiteX37" fmla="*/ 1935480 w 8923020"/>
              <a:gd name="connsiteY37" fmla="*/ 990600 h 1013460"/>
              <a:gd name="connsiteX38" fmla="*/ 2034540 w 8923020"/>
              <a:gd name="connsiteY38" fmla="*/ 899160 h 1013460"/>
              <a:gd name="connsiteX39" fmla="*/ 2057400 w 8923020"/>
              <a:gd name="connsiteY39" fmla="*/ 967740 h 1013460"/>
              <a:gd name="connsiteX40" fmla="*/ 2156460 w 8923020"/>
              <a:gd name="connsiteY40" fmla="*/ 982980 h 1013460"/>
              <a:gd name="connsiteX41" fmla="*/ 2186940 w 8923020"/>
              <a:gd name="connsiteY41" fmla="*/ 952500 h 1013460"/>
              <a:gd name="connsiteX42" fmla="*/ 2255520 w 8923020"/>
              <a:gd name="connsiteY42" fmla="*/ 967740 h 1013460"/>
              <a:gd name="connsiteX43" fmla="*/ 2301240 w 8923020"/>
              <a:gd name="connsiteY43" fmla="*/ 906780 h 1013460"/>
              <a:gd name="connsiteX44" fmla="*/ 2400300 w 8923020"/>
              <a:gd name="connsiteY44" fmla="*/ 998220 h 1013460"/>
              <a:gd name="connsiteX45" fmla="*/ 2446020 w 8923020"/>
              <a:gd name="connsiteY45" fmla="*/ 960120 h 1013460"/>
              <a:gd name="connsiteX46" fmla="*/ 2537460 w 8923020"/>
              <a:gd name="connsiteY46" fmla="*/ 1013460 h 1013460"/>
              <a:gd name="connsiteX47" fmla="*/ 2628900 w 8923020"/>
              <a:gd name="connsiteY47" fmla="*/ 899160 h 1013460"/>
              <a:gd name="connsiteX48" fmla="*/ 2720340 w 8923020"/>
              <a:gd name="connsiteY48" fmla="*/ 1013460 h 1013460"/>
              <a:gd name="connsiteX49" fmla="*/ 2773680 w 8923020"/>
              <a:gd name="connsiteY49" fmla="*/ 967740 h 1013460"/>
              <a:gd name="connsiteX50" fmla="*/ 2804160 w 8923020"/>
              <a:gd name="connsiteY50" fmla="*/ 967740 h 1013460"/>
              <a:gd name="connsiteX51" fmla="*/ 2842260 w 8923020"/>
              <a:gd name="connsiteY51" fmla="*/ 922020 h 1013460"/>
              <a:gd name="connsiteX52" fmla="*/ 2941320 w 8923020"/>
              <a:gd name="connsiteY52" fmla="*/ 822960 h 1013460"/>
              <a:gd name="connsiteX53" fmla="*/ 2994660 w 8923020"/>
              <a:gd name="connsiteY53" fmla="*/ 853440 h 1013460"/>
              <a:gd name="connsiteX54" fmla="*/ 3086100 w 8923020"/>
              <a:gd name="connsiteY54" fmla="*/ 777240 h 1013460"/>
              <a:gd name="connsiteX55" fmla="*/ 3154680 w 8923020"/>
              <a:gd name="connsiteY55" fmla="*/ 815340 h 1013460"/>
              <a:gd name="connsiteX56" fmla="*/ 3215640 w 8923020"/>
              <a:gd name="connsiteY56" fmla="*/ 739140 h 1013460"/>
              <a:gd name="connsiteX57" fmla="*/ 3299460 w 8923020"/>
              <a:gd name="connsiteY57" fmla="*/ 784860 h 1013460"/>
              <a:gd name="connsiteX58" fmla="*/ 3375660 w 8923020"/>
              <a:gd name="connsiteY58" fmla="*/ 815340 h 1013460"/>
              <a:gd name="connsiteX59" fmla="*/ 3390900 w 8923020"/>
              <a:gd name="connsiteY59" fmla="*/ 746760 h 1013460"/>
              <a:gd name="connsiteX60" fmla="*/ 3482340 w 8923020"/>
              <a:gd name="connsiteY60" fmla="*/ 800100 h 1013460"/>
              <a:gd name="connsiteX61" fmla="*/ 3558540 w 8923020"/>
              <a:gd name="connsiteY61" fmla="*/ 693420 h 1013460"/>
              <a:gd name="connsiteX62" fmla="*/ 3657600 w 8923020"/>
              <a:gd name="connsiteY62" fmla="*/ 815340 h 1013460"/>
              <a:gd name="connsiteX63" fmla="*/ 3695700 w 8923020"/>
              <a:gd name="connsiteY63" fmla="*/ 762000 h 1013460"/>
              <a:gd name="connsiteX64" fmla="*/ 3794760 w 8923020"/>
              <a:gd name="connsiteY64" fmla="*/ 822960 h 1013460"/>
              <a:gd name="connsiteX65" fmla="*/ 3893820 w 8923020"/>
              <a:gd name="connsiteY65" fmla="*/ 784860 h 1013460"/>
              <a:gd name="connsiteX66" fmla="*/ 3947160 w 8923020"/>
              <a:gd name="connsiteY66" fmla="*/ 876300 h 1013460"/>
              <a:gd name="connsiteX67" fmla="*/ 4000500 w 8923020"/>
              <a:gd name="connsiteY67" fmla="*/ 845820 h 1013460"/>
              <a:gd name="connsiteX68" fmla="*/ 4069080 w 8923020"/>
              <a:gd name="connsiteY68" fmla="*/ 883920 h 1013460"/>
              <a:gd name="connsiteX69" fmla="*/ 4122420 w 8923020"/>
              <a:gd name="connsiteY69" fmla="*/ 883920 h 1013460"/>
              <a:gd name="connsiteX70" fmla="*/ 4152900 w 8923020"/>
              <a:gd name="connsiteY70" fmla="*/ 838200 h 1013460"/>
              <a:gd name="connsiteX71" fmla="*/ 4282440 w 8923020"/>
              <a:gd name="connsiteY71" fmla="*/ 914400 h 1013460"/>
              <a:gd name="connsiteX72" fmla="*/ 4312920 w 8923020"/>
              <a:gd name="connsiteY72" fmla="*/ 899160 h 1013460"/>
              <a:gd name="connsiteX73" fmla="*/ 4427220 w 8923020"/>
              <a:gd name="connsiteY73" fmla="*/ 944880 h 1013460"/>
              <a:gd name="connsiteX74" fmla="*/ 4465320 w 8923020"/>
              <a:gd name="connsiteY74" fmla="*/ 891540 h 1013460"/>
              <a:gd name="connsiteX75" fmla="*/ 4518660 w 8923020"/>
              <a:gd name="connsiteY75" fmla="*/ 929640 h 1013460"/>
              <a:gd name="connsiteX76" fmla="*/ 4564380 w 8923020"/>
              <a:gd name="connsiteY76" fmla="*/ 982980 h 1013460"/>
              <a:gd name="connsiteX77" fmla="*/ 4625340 w 8923020"/>
              <a:gd name="connsiteY77" fmla="*/ 906780 h 1013460"/>
              <a:gd name="connsiteX78" fmla="*/ 4686300 w 8923020"/>
              <a:gd name="connsiteY78" fmla="*/ 967740 h 1013460"/>
              <a:gd name="connsiteX79" fmla="*/ 4739640 w 8923020"/>
              <a:gd name="connsiteY79" fmla="*/ 906780 h 1013460"/>
              <a:gd name="connsiteX80" fmla="*/ 4747260 w 8923020"/>
              <a:gd name="connsiteY80" fmla="*/ 861060 h 1013460"/>
              <a:gd name="connsiteX81" fmla="*/ 4853940 w 8923020"/>
              <a:gd name="connsiteY81" fmla="*/ 922020 h 1013460"/>
              <a:gd name="connsiteX82" fmla="*/ 4953000 w 8923020"/>
              <a:gd name="connsiteY82" fmla="*/ 891540 h 1013460"/>
              <a:gd name="connsiteX83" fmla="*/ 5006340 w 8923020"/>
              <a:gd name="connsiteY83" fmla="*/ 922020 h 1013460"/>
              <a:gd name="connsiteX84" fmla="*/ 5105400 w 8923020"/>
              <a:gd name="connsiteY84" fmla="*/ 754380 h 1013460"/>
              <a:gd name="connsiteX85" fmla="*/ 5151120 w 8923020"/>
              <a:gd name="connsiteY85" fmla="*/ 822960 h 1013460"/>
              <a:gd name="connsiteX86" fmla="*/ 5204460 w 8923020"/>
              <a:gd name="connsiteY86" fmla="*/ 647700 h 1013460"/>
              <a:gd name="connsiteX87" fmla="*/ 5273040 w 8923020"/>
              <a:gd name="connsiteY87" fmla="*/ 586740 h 1013460"/>
              <a:gd name="connsiteX88" fmla="*/ 5288280 w 8923020"/>
              <a:gd name="connsiteY88" fmla="*/ 594360 h 1013460"/>
              <a:gd name="connsiteX89" fmla="*/ 5364480 w 8923020"/>
              <a:gd name="connsiteY89" fmla="*/ 411480 h 1013460"/>
              <a:gd name="connsiteX90" fmla="*/ 5486400 w 8923020"/>
              <a:gd name="connsiteY90" fmla="*/ 510540 h 1013460"/>
              <a:gd name="connsiteX91" fmla="*/ 5547360 w 8923020"/>
              <a:gd name="connsiteY91" fmla="*/ 457200 h 1013460"/>
              <a:gd name="connsiteX92" fmla="*/ 5608320 w 8923020"/>
              <a:gd name="connsiteY92" fmla="*/ 541020 h 1013460"/>
              <a:gd name="connsiteX93" fmla="*/ 5684520 w 8923020"/>
              <a:gd name="connsiteY93" fmla="*/ 502920 h 1013460"/>
              <a:gd name="connsiteX94" fmla="*/ 5699760 w 8923020"/>
              <a:gd name="connsiteY94" fmla="*/ 457200 h 1013460"/>
              <a:gd name="connsiteX95" fmla="*/ 5745480 w 8923020"/>
              <a:gd name="connsiteY95" fmla="*/ 533400 h 1013460"/>
              <a:gd name="connsiteX96" fmla="*/ 5806440 w 8923020"/>
              <a:gd name="connsiteY96" fmla="*/ 502920 h 1013460"/>
              <a:gd name="connsiteX97" fmla="*/ 5928360 w 8923020"/>
              <a:gd name="connsiteY97" fmla="*/ 601980 h 1013460"/>
              <a:gd name="connsiteX98" fmla="*/ 6004560 w 8923020"/>
              <a:gd name="connsiteY98" fmla="*/ 525780 h 1013460"/>
              <a:gd name="connsiteX99" fmla="*/ 6065520 w 8923020"/>
              <a:gd name="connsiteY99" fmla="*/ 586740 h 1013460"/>
              <a:gd name="connsiteX100" fmla="*/ 6126480 w 8923020"/>
              <a:gd name="connsiteY100" fmla="*/ 617220 h 1013460"/>
              <a:gd name="connsiteX101" fmla="*/ 6164580 w 8923020"/>
              <a:gd name="connsiteY101" fmla="*/ 548640 h 1013460"/>
              <a:gd name="connsiteX102" fmla="*/ 6240780 w 8923020"/>
              <a:gd name="connsiteY102" fmla="*/ 647700 h 1013460"/>
              <a:gd name="connsiteX103" fmla="*/ 6332220 w 8923020"/>
              <a:gd name="connsiteY103" fmla="*/ 541020 h 1013460"/>
              <a:gd name="connsiteX104" fmla="*/ 6377940 w 8923020"/>
              <a:gd name="connsiteY104" fmla="*/ 662940 h 1013460"/>
              <a:gd name="connsiteX105" fmla="*/ 6454140 w 8923020"/>
              <a:gd name="connsiteY105" fmla="*/ 617220 h 1013460"/>
              <a:gd name="connsiteX106" fmla="*/ 6545580 w 8923020"/>
              <a:gd name="connsiteY106" fmla="*/ 670560 h 1013460"/>
              <a:gd name="connsiteX107" fmla="*/ 6621780 w 8923020"/>
              <a:gd name="connsiteY107" fmla="*/ 609600 h 1013460"/>
              <a:gd name="connsiteX108" fmla="*/ 6659880 w 8923020"/>
              <a:gd name="connsiteY108" fmla="*/ 655320 h 1013460"/>
              <a:gd name="connsiteX109" fmla="*/ 6720840 w 8923020"/>
              <a:gd name="connsiteY109" fmla="*/ 746760 h 1013460"/>
              <a:gd name="connsiteX110" fmla="*/ 6804660 w 8923020"/>
              <a:gd name="connsiteY110" fmla="*/ 701040 h 1013460"/>
              <a:gd name="connsiteX111" fmla="*/ 6850380 w 8923020"/>
              <a:gd name="connsiteY111" fmla="*/ 769620 h 1013460"/>
              <a:gd name="connsiteX112" fmla="*/ 6911340 w 8923020"/>
              <a:gd name="connsiteY112" fmla="*/ 693420 h 1013460"/>
              <a:gd name="connsiteX113" fmla="*/ 6964680 w 8923020"/>
              <a:gd name="connsiteY113" fmla="*/ 662940 h 1013460"/>
              <a:gd name="connsiteX114" fmla="*/ 6995160 w 8923020"/>
              <a:gd name="connsiteY114" fmla="*/ 792480 h 1013460"/>
              <a:gd name="connsiteX115" fmla="*/ 7033260 w 8923020"/>
              <a:gd name="connsiteY115" fmla="*/ 792480 h 1013460"/>
              <a:gd name="connsiteX116" fmla="*/ 7056120 w 8923020"/>
              <a:gd name="connsiteY116" fmla="*/ 845820 h 1013460"/>
              <a:gd name="connsiteX117" fmla="*/ 7101840 w 8923020"/>
              <a:gd name="connsiteY117" fmla="*/ 830580 h 1013460"/>
              <a:gd name="connsiteX118" fmla="*/ 7109460 w 8923020"/>
              <a:gd name="connsiteY118" fmla="*/ 853440 h 1013460"/>
              <a:gd name="connsiteX119" fmla="*/ 7216140 w 8923020"/>
              <a:gd name="connsiteY119" fmla="*/ 815340 h 1013460"/>
              <a:gd name="connsiteX120" fmla="*/ 7299960 w 8923020"/>
              <a:gd name="connsiteY120" fmla="*/ 853440 h 1013460"/>
              <a:gd name="connsiteX121" fmla="*/ 7353300 w 8923020"/>
              <a:gd name="connsiteY121" fmla="*/ 876300 h 1013460"/>
              <a:gd name="connsiteX122" fmla="*/ 7414260 w 8923020"/>
              <a:gd name="connsiteY122" fmla="*/ 822960 h 1013460"/>
              <a:gd name="connsiteX123" fmla="*/ 7467600 w 8923020"/>
              <a:gd name="connsiteY123" fmla="*/ 891540 h 1013460"/>
              <a:gd name="connsiteX124" fmla="*/ 7566660 w 8923020"/>
              <a:gd name="connsiteY124" fmla="*/ 769620 h 1013460"/>
              <a:gd name="connsiteX125" fmla="*/ 7642860 w 8923020"/>
              <a:gd name="connsiteY125" fmla="*/ 861060 h 1013460"/>
              <a:gd name="connsiteX126" fmla="*/ 7703820 w 8923020"/>
              <a:gd name="connsiteY126" fmla="*/ 868680 h 1013460"/>
              <a:gd name="connsiteX127" fmla="*/ 7787640 w 8923020"/>
              <a:gd name="connsiteY127" fmla="*/ 891540 h 1013460"/>
              <a:gd name="connsiteX128" fmla="*/ 7856220 w 8923020"/>
              <a:gd name="connsiteY128" fmla="*/ 815340 h 1013460"/>
              <a:gd name="connsiteX129" fmla="*/ 7909560 w 8923020"/>
              <a:gd name="connsiteY129" fmla="*/ 876300 h 1013460"/>
              <a:gd name="connsiteX130" fmla="*/ 7932420 w 8923020"/>
              <a:gd name="connsiteY130" fmla="*/ 922020 h 1013460"/>
              <a:gd name="connsiteX131" fmla="*/ 8016240 w 8923020"/>
              <a:gd name="connsiteY131" fmla="*/ 899160 h 1013460"/>
              <a:gd name="connsiteX132" fmla="*/ 8084820 w 8923020"/>
              <a:gd name="connsiteY132" fmla="*/ 944880 h 1013460"/>
              <a:gd name="connsiteX133" fmla="*/ 8145780 w 8923020"/>
              <a:gd name="connsiteY133" fmla="*/ 853440 h 1013460"/>
              <a:gd name="connsiteX134" fmla="*/ 8206740 w 8923020"/>
              <a:gd name="connsiteY134" fmla="*/ 906780 h 1013460"/>
              <a:gd name="connsiteX135" fmla="*/ 8260080 w 8923020"/>
              <a:gd name="connsiteY135" fmla="*/ 906780 h 1013460"/>
              <a:gd name="connsiteX136" fmla="*/ 8313420 w 8923020"/>
              <a:gd name="connsiteY136" fmla="*/ 853440 h 1013460"/>
              <a:gd name="connsiteX137" fmla="*/ 8389620 w 8923020"/>
              <a:gd name="connsiteY137" fmla="*/ 929640 h 1013460"/>
              <a:gd name="connsiteX138" fmla="*/ 8450580 w 8923020"/>
              <a:gd name="connsiteY138" fmla="*/ 845820 h 1013460"/>
              <a:gd name="connsiteX139" fmla="*/ 8542020 w 8923020"/>
              <a:gd name="connsiteY139" fmla="*/ 929640 h 1013460"/>
              <a:gd name="connsiteX140" fmla="*/ 8557260 w 8923020"/>
              <a:gd name="connsiteY140" fmla="*/ 960120 h 1013460"/>
              <a:gd name="connsiteX141" fmla="*/ 8648700 w 8923020"/>
              <a:gd name="connsiteY141" fmla="*/ 914400 h 1013460"/>
              <a:gd name="connsiteX142" fmla="*/ 8686800 w 8923020"/>
              <a:gd name="connsiteY142" fmla="*/ 815340 h 1013460"/>
              <a:gd name="connsiteX143" fmla="*/ 8671560 w 8923020"/>
              <a:gd name="connsiteY143" fmla="*/ 320040 h 1013460"/>
              <a:gd name="connsiteX144" fmla="*/ 8686800 w 8923020"/>
              <a:gd name="connsiteY144" fmla="*/ 137160 h 1013460"/>
              <a:gd name="connsiteX145" fmla="*/ 8679180 w 8923020"/>
              <a:gd name="connsiteY145" fmla="*/ 0 h 1013460"/>
              <a:gd name="connsiteX146" fmla="*/ 8740140 w 8923020"/>
              <a:gd name="connsiteY146" fmla="*/ 121920 h 1013460"/>
              <a:gd name="connsiteX147" fmla="*/ 8778240 w 8923020"/>
              <a:gd name="connsiteY147" fmla="*/ 281940 h 1013460"/>
              <a:gd name="connsiteX148" fmla="*/ 8839200 w 8923020"/>
              <a:gd name="connsiteY148" fmla="*/ 571500 h 1013460"/>
              <a:gd name="connsiteX149" fmla="*/ 8884920 w 8923020"/>
              <a:gd name="connsiteY149" fmla="*/ 624840 h 1013460"/>
              <a:gd name="connsiteX150" fmla="*/ 8884920 w 8923020"/>
              <a:gd name="connsiteY150" fmla="*/ 670560 h 1013460"/>
              <a:gd name="connsiteX151" fmla="*/ 8923020 w 8923020"/>
              <a:gd name="connsiteY151" fmla="*/ 624840 h 1013460"/>
              <a:gd name="connsiteX152" fmla="*/ 8923020 w 8923020"/>
              <a:gd name="connsiteY152" fmla="*/ 655320 h 10134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</a:cxnLst>
            <a:rect l="l" t="t" r="r" b="b"/>
            <a:pathLst>
              <a:path w="8923020" h="1013460">
                <a:moveTo>
                  <a:pt x="0" y="716280"/>
                </a:moveTo>
                <a:lnTo>
                  <a:pt x="53340" y="754380"/>
                </a:lnTo>
                <a:lnTo>
                  <a:pt x="106680" y="784860"/>
                </a:lnTo>
                <a:lnTo>
                  <a:pt x="137160" y="731520"/>
                </a:lnTo>
                <a:lnTo>
                  <a:pt x="205740" y="701040"/>
                </a:lnTo>
                <a:lnTo>
                  <a:pt x="274320" y="754380"/>
                </a:lnTo>
                <a:lnTo>
                  <a:pt x="281940" y="792480"/>
                </a:lnTo>
                <a:lnTo>
                  <a:pt x="312420" y="716280"/>
                </a:lnTo>
                <a:lnTo>
                  <a:pt x="365760" y="746760"/>
                </a:lnTo>
                <a:lnTo>
                  <a:pt x="396240" y="815340"/>
                </a:lnTo>
                <a:lnTo>
                  <a:pt x="426720" y="754380"/>
                </a:lnTo>
                <a:lnTo>
                  <a:pt x="487680" y="777240"/>
                </a:lnTo>
                <a:lnTo>
                  <a:pt x="541020" y="792480"/>
                </a:lnTo>
                <a:lnTo>
                  <a:pt x="579120" y="830580"/>
                </a:lnTo>
                <a:lnTo>
                  <a:pt x="617220" y="784860"/>
                </a:lnTo>
                <a:lnTo>
                  <a:pt x="662940" y="807720"/>
                </a:lnTo>
                <a:lnTo>
                  <a:pt x="716280" y="868680"/>
                </a:lnTo>
                <a:lnTo>
                  <a:pt x="762000" y="800100"/>
                </a:lnTo>
                <a:lnTo>
                  <a:pt x="822960" y="769620"/>
                </a:lnTo>
                <a:lnTo>
                  <a:pt x="891540" y="929640"/>
                </a:lnTo>
                <a:lnTo>
                  <a:pt x="914400" y="868680"/>
                </a:lnTo>
                <a:lnTo>
                  <a:pt x="952500" y="876300"/>
                </a:lnTo>
                <a:lnTo>
                  <a:pt x="975360" y="861060"/>
                </a:lnTo>
                <a:lnTo>
                  <a:pt x="1021080" y="868680"/>
                </a:lnTo>
                <a:lnTo>
                  <a:pt x="1028700" y="822960"/>
                </a:lnTo>
                <a:lnTo>
                  <a:pt x="1112520" y="769620"/>
                </a:lnTo>
                <a:lnTo>
                  <a:pt x="1150620" y="891540"/>
                </a:lnTo>
                <a:lnTo>
                  <a:pt x="1188720" y="906780"/>
                </a:lnTo>
                <a:lnTo>
                  <a:pt x="1226820" y="868680"/>
                </a:lnTo>
                <a:lnTo>
                  <a:pt x="1295400" y="914400"/>
                </a:lnTo>
                <a:lnTo>
                  <a:pt x="1394460" y="861060"/>
                </a:lnTo>
                <a:lnTo>
                  <a:pt x="1455420" y="922020"/>
                </a:lnTo>
                <a:lnTo>
                  <a:pt x="1539240" y="922020"/>
                </a:lnTo>
                <a:lnTo>
                  <a:pt x="1600200" y="967740"/>
                </a:lnTo>
                <a:lnTo>
                  <a:pt x="1737360" y="838200"/>
                </a:lnTo>
                <a:lnTo>
                  <a:pt x="1821180" y="998220"/>
                </a:lnTo>
                <a:lnTo>
                  <a:pt x="1844040" y="914400"/>
                </a:lnTo>
                <a:lnTo>
                  <a:pt x="1935480" y="990600"/>
                </a:lnTo>
                <a:lnTo>
                  <a:pt x="2034540" y="899160"/>
                </a:lnTo>
                <a:lnTo>
                  <a:pt x="2057400" y="967740"/>
                </a:lnTo>
                <a:lnTo>
                  <a:pt x="2156460" y="982980"/>
                </a:lnTo>
                <a:lnTo>
                  <a:pt x="2186940" y="952500"/>
                </a:lnTo>
                <a:lnTo>
                  <a:pt x="2255520" y="967740"/>
                </a:lnTo>
                <a:lnTo>
                  <a:pt x="2301240" y="906780"/>
                </a:lnTo>
                <a:lnTo>
                  <a:pt x="2400300" y="998220"/>
                </a:lnTo>
                <a:lnTo>
                  <a:pt x="2446020" y="960120"/>
                </a:lnTo>
                <a:lnTo>
                  <a:pt x="2537460" y="1013460"/>
                </a:lnTo>
                <a:lnTo>
                  <a:pt x="2628900" y="899160"/>
                </a:lnTo>
                <a:lnTo>
                  <a:pt x="2720340" y="1013460"/>
                </a:lnTo>
                <a:lnTo>
                  <a:pt x="2773680" y="967740"/>
                </a:lnTo>
                <a:lnTo>
                  <a:pt x="2804160" y="967740"/>
                </a:lnTo>
                <a:lnTo>
                  <a:pt x="2842260" y="922020"/>
                </a:lnTo>
                <a:lnTo>
                  <a:pt x="2941320" y="822960"/>
                </a:lnTo>
                <a:lnTo>
                  <a:pt x="2994660" y="853440"/>
                </a:lnTo>
                <a:lnTo>
                  <a:pt x="3086100" y="777240"/>
                </a:lnTo>
                <a:lnTo>
                  <a:pt x="3154680" y="815340"/>
                </a:lnTo>
                <a:lnTo>
                  <a:pt x="3215640" y="739140"/>
                </a:lnTo>
                <a:lnTo>
                  <a:pt x="3299460" y="784860"/>
                </a:lnTo>
                <a:lnTo>
                  <a:pt x="3375660" y="815340"/>
                </a:lnTo>
                <a:lnTo>
                  <a:pt x="3390900" y="746760"/>
                </a:lnTo>
                <a:lnTo>
                  <a:pt x="3482340" y="800100"/>
                </a:lnTo>
                <a:lnTo>
                  <a:pt x="3558540" y="693420"/>
                </a:lnTo>
                <a:lnTo>
                  <a:pt x="3657600" y="815340"/>
                </a:lnTo>
                <a:lnTo>
                  <a:pt x="3695700" y="762000"/>
                </a:lnTo>
                <a:lnTo>
                  <a:pt x="3794760" y="822960"/>
                </a:lnTo>
                <a:lnTo>
                  <a:pt x="3893820" y="784860"/>
                </a:lnTo>
                <a:lnTo>
                  <a:pt x="3947160" y="876300"/>
                </a:lnTo>
                <a:lnTo>
                  <a:pt x="4000500" y="845820"/>
                </a:lnTo>
                <a:lnTo>
                  <a:pt x="4069080" y="883920"/>
                </a:lnTo>
                <a:lnTo>
                  <a:pt x="4122420" y="883920"/>
                </a:lnTo>
                <a:lnTo>
                  <a:pt x="4152900" y="838200"/>
                </a:lnTo>
                <a:lnTo>
                  <a:pt x="4282440" y="914400"/>
                </a:lnTo>
                <a:lnTo>
                  <a:pt x="4312920" y="899160"/>
                </a:lnTo>
                <a:lnTo>
                  <a:pt x="4427220" y="944880"/>
                </a:lnTo>
                <a:lnTo>
                  <a:pt x="4465320" y="891540"/>
                </a:lnTo>
                <a:lnTo>
                  <a:pt x="4518660" y="929640"/>
                </a:lnTo>
                <a:lnTo>
                  <a:pt x="4564380" y="982980"/>
                </a:lnTo>
                <a:lnTo>
                  <a:pt x="4625340" y="906780"/>
                </a:lnTo>
                <a:lnTo>
                  <a:pt x="4686300" y="967740"/>
                </a:lnTo>
                <a:lnTo>
                  <a:pt x="4739640" y="906780"/>
                </a:lnTo>
                <a:lnTo>
                  <a:pt x="4747260" y="861060"/>
                </a:lnTo>
                <a:lnTo>
                  <a:pt x="4853940" y="922020"/>
                </a:lnTo>
                <a:lnTo>
                  <a:pt x="4953000" y="891540"/>
                </a:lnTo>
                <a:lnTo>
                  <a:pt x="5006340" y="922020"/>
                </a:lnTo>
                <a:lnTo>
                  <a:pt x="5105400" y="754380"/>
                </a:lnTo>
                <a:lnTo>
                  <a:pt x="5151120" y="822960"/>
                </a:lnTo>
                <a:lnTo>
                  <a:pt x="5204460" y="647700"/>
                </a:lnTo>
                <a:lnTo>
                  <a:pt x="5273040" y="586740"/>
                </a:lnTo>
                <a:lnTo>
                  <a:pt x="5288280" y="594360"/>
                </a:lnTo>
                <a:lnTo>
                  <a:pt x="5364480" y="411480"/>
                </a:lnTo>
                <a:lnTo>
                  <a:pt x="5486400" y="510540"/>
                </a:lnTo>
                <a:lnTo>
                  <a:pt x="5547360" y="457200"/>
                </a:lnTo>
                <a:lnTo>
                  <a:pt x="5608320" y="541020"/>
                </a:lnTo>
                <a:lnTo>
                  <a:pt x="5684520" y="502920"/>
                </a:lnTo>
                <a:lnTo>
                  <a:pt x="5699760" y="457200"/>
                </a:lnTo>
                <a:lnTo>
                  <a:pt x="5745480" y="533400"/>
                </a:lnTo>
                <a:lnTo>
                  <a:pt x="5806440" y="502920"/>
                </a:lnTo>
                <a:lnTo>
                  <a:pt x="5928360" y="601980"/>
                </a:lnTo>
                <a:lnTo>
                  <a:pt x="6004560" y="525780"/>
                </a:lnTo>
                <a:lnTo>
                  <a:pt x="6065520" y="586740"/>
                </a:lnTo>
                <a:lnTo>
                  <a:pt x="6126480" y="617220"/>
                </a:lnTo>
                <a:lnTo>
                  <a:pt x="6164580" y="548640"/>
                </a:lnTo>
                <a:lnTo>
                  <a:pt x="6240780" y="647700"/>
                </a:lnTo>
                <a:lnTo>
                  <a:pt x="6332220" y="541020"/>
                </a:lnTo>
                <a:lnTo>
                  <a:pt x="6377940" y="662940"/>
                </a:lnTo>
                <a:lnTo>
                  <a:pt x="6454140" y="617220"/>
                </a:lnTo>
                <a:lnTo>
                  <a:pt x="6545580" y="670560"/>
                </a:lnTo>
                <a:lnTo>
                  <a:pt x="6621780" y="609600"/>
                </a:lnTo>
                <a:lnTo>
                  <a:pt x="6659880" y="655320"/>
                </a:lnTo>
                <a:lnTo>
                  <a:pt x="6720840" y="746760"/>
                </a:lnTo>
                <a:lnTo>
                  <a:pt x="6804660" y="701040"/>
                </a:lnTo>
                <a:lnTo>
                  <a:pt x="6850380" y="769620"/>
                </a:lnTo>
                <a:lnTo>
                  <a:pt x="6911340" y="693420"/>
                </a:lnTo>
                <a:lnTo>
                  <a:pt x="6964680" y="662940"/>
                </a:lnTo>
                <a:lnTo>
                  <a:pt x="6995160" y="792480"/>
                </a:lnTo>
                <a:lnTo>
                  <a:pt x="7033260" y="792480"/>
                </a:lnTo>
                <a:lnTo>
                  <a:pt x="7056120" y="845820"/>
                </a:lnTo>
                <a:lnTo>
                  <a:pt x="7101840" y="830580"/>
                </a:lnTo>
                <a:lnTo>
                  <a:pt x="7109460" y="853440"/>
                </a:lnTo>
                <a:lnTo>
                  <a:pt x="7216140" y="815340"/>
                </a:lnTo>
                <a:lnTo>
                  <a:pt x="7299960" y="853440"/>
                </a:lnTo>
                <a:lnTo>
                  <a:pt x="7353300" y="876300"/>
                </a:lnTo>
                <a:lnTo>
                  <a:pt x="7414260" y="822960"/>
                </a:lnTo>
                <a:lnTo>
                  <a:pt x="7467600" y="891540"/>
                </a:lnTo>
                <a:lnTo>
                  <a:pt x="7566660" y="769620"/>
                </a:lnTo>
                <a:lnTo>
                  <a:pt x="7642860" y="861060"/>
                </a:lnTo>
                <a:lnTo>
                  <a:pt x="7703820" y="868680"/>
                </a:lnTo>
                <a:lnTo>
                  <a:pt x="7787640" y="891540"/>
                </a:lnTo>
                <a:lnTo>
                  <a:pt x="7856220" y="815340"/>
                </a:lnTo>
                <a:lnTo>
                  <a:pt x="7909560" y="876300"/>
                </a:lnTo>
                <a:lnTo>
                  <a:pt x="7932420" y="922020"/>
                </a:lnTo>
                <a:lnTo>
                  <a:pt x="8016240" y="899160"/>
                </a:lnTo>
                <a:lnTo>
                  <a:pt x="8084820" y="944880"/>
                </a:lnTo>
                <a:lnTo>
                  <a:pt x="8145780" y="853440"/>
                </a:lnTo>
                <a:lnTo>
                  <a:pt x="8206740" y="906780"/>
                </a:lnTo>
                <a:lnTo>
                  <a:pt x="8260080" y="906780"/>
                </a:lnTo>
                <a:lnTo>
                  <a:pt x="8313420" y="853440"/>
                </a:lnTo>
                <a:lnTo>
                  <a:pt x="8389620" y="929640"/>
                </a:lnTo>
                <a:lnTo>
                  <a:pt x="8450580" y="845820"/>
                </a:lnTo>
                <a:lnTo>
                  <a:pt x="8542020" y="929640"/>
                </a:lnTo>
                <a:lnTo>
                  <a:pt x="8557260" y="960120"/>
                </a:lnTo>
                <a:lnTo>
                  <a:pt x="8648700" y="914400"/>
                </a:lnTo>
                <a:lnTo>
                  <a:pt x="8686800" y="815340"/>
                </a:lnTo>
                <a:lnTo>
                  <a:pt x="8671560" y="320040"/>
                </a:lnTo>
                <a:lnTo>
                  <a:pt x="8686800" y="137160"/>
                </a:lnTo>
                <a:lnTo>
                  <a:pt x="8679180" y="0"/>
                </a:lnTo>
                <a:lnTo>
                  <a:pt x="8740140" y="121920"/>
                </a:lnTo>
                <a:lnTo>
                  <a:pt x="8778240" y="281940"/>
                </a:lnTo>
                <a:lnTo>
                  <a:pt x="8839200" y="571500"/>
                </a:lnTo>
                <a:lnTo>
                  <a:pt x="8884920" y="624840"/>
                </a:lnTo>
                <a:lnTo>
                  <a:pt x="8884920" y="670560"/>
                </a:lnTo>
                <a:lnTo>
                  <a:pt x="8923020" y="624840"/>
                </a:lnTo>
                <a:lnTo>
                  <a:pt x="8923020" y="655320"/>
                </a:lnTo>
              </a:path>
            </a:pathLst>
          </a:cu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F59EC7-7F75-4425-84B9-5F81AA26E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IN" dirty="0"/>
              <a:t>What conclusions can you draw from this chart?</a:t>
            </a:r>
          </a:p>
        </p:txBody>
      </p:sp>
      <p:sp>
        <p:nvSpPr>
          <p:cNvPr id="4" name="Google Shape;14;p11">
            <a:extLst>
              <a:ext uri="{FF2B5EF4-FFF2-40B4-BE49-F238E27FC236}">
                <a16:creationId xmlns:a16="http://schemas.microsoft.com/office/drawing/2014/main" id="{523CACD1-B6E9-484D-A93B-291133AC6C74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5" name="Google Shape;16;p11">
            <a:extLst>
              <a:ext uri="{FF2B5EF4-FFF2-40B4-BE49-F238E27FC236}">
                <a16:creationId xmlns:a16="http://schemas.microsoft.com/office/drawing/2014/main" id="{9784C0D3-4933-4B52-8B1E-2435F19A276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0" marR="0" lvl="1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0" marR="0" lvl="2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0" marR="0" lvl="3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0" marR="0" lvl="4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0" marR="0" lvl="5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0" marR="0" lvl="6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0" marR="0" lvl="7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0" marR="0" lvl="8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6</a:t>
            </a:fld>
            <a:endParaRPr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A28E0E7-1095-4348-9191-39D9F6BA3313}"/>
              </a:ext>
            </a:extLst>
          </p:cNvPr>
          <p:cNvSpPr txBox="1">
            <a:spLocks/>
          </p:cNvSpPr>
          <p:nvPr/>
        </p:nvSpPr>
        <p:spPr>
          <a:xfrm>
            <a:off x="1097280" y="1833209"/>
            <a:ext cx="10058400" cy="3385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spcFirstLastPara="1" wrap="square" lIns="91440" tIns="45720" rIns="91440" bIns="4572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600" b="1" dirty="0">
                <a:solidFill>
                  <a:schemeClr val="bg1"/>
                </a:solidFill>
              </a:rPr>
              <a:t>FRED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14B3064C-200B-4C54-9E29-753DCD234E7A}"/>
              </a:ext>
            </a:extLst>
          </p:cNvPr>
          <p:cNvSpPr txBox="1">
            <a:spLocks/>
          </p:cNvSpPr>
          <p:nvPr/>
        </p:nvSpPr>
        <p:spPr>
          <a:xfrm>
            <a:off x="1092199" y="5899759"/>
            <a:ext cx="1012028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IN" sz="10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000" dirty="0"/>
              <a:t>Source: U.S. Bureau of Labor Statistics</a:t>
            </a: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914D3CA5-0B44-4DB8-B175-701ABE81DC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2" t="1509" r="81704" b="90157"/>
          <a:stretch/>
        </p:blipFill>
        <p:spPr bwMode="auto">
          <a:xfrm>
            <a:off x="1092199" y="5487915"/>
            <a:ext cx="1384300" cy="41910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39111311-13E6-490E-ACCE-B6D8B1A96356}"/>
              </a:ext>
            </a:extLst>
          </p:cNvPr>
          <p:cNvSpPr txBox="1">
            <a:spLocks/>
          </p:cNvSpPr>
          <p:nvPr/>
        </p:nvSpPr>
        <p:spPr>
          <a:xfrm>
            <a:off x="3879941" y="5489553"/>
            <a:ext cx="487473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200" dirty="0"/>
              <a:t>Unemployment Rate – Bachelor’s Degree and Higher, 25 Yrs. &amp; Over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36FBEBB-1123-4BEC-9E87-B16619F0079B}"/>
              </a:ext>
            </a:extLst>
          </p:cNvPr>
          <p:cNvSpPr txBox="1">
            <a:spLocks/>
          </p:cNvSpPr>
          <p:nvPr/>
        </p:nvSpPr>
        <p:spPr>
          <a:xfrm>
            <a:off x="3879941" y="5704997"/>
            <a:ext cx="520976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200" dirty="0"/>
              <a:t>Unemployment Rate – High School Graduates, No College, 25 Yrs. &amp; Over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739371D-BE9F-454C-899A-02984E67B5EB}"/>
              </a:ext>
            </a:extLst>
          </p:cNvPr>
          <p:cNvCxnSpPr>
            <a:cxnSpLocks/>
          </p:cNvCxnSpPr>
          <p:nvPr/>
        </p:nvCxnSpPr>
        <p:spPr>
          <a:xfrm>
            <a:off x="3294743" y="5581886"/>
            <a:ext cx="478971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6C63EE0-3B02-414D-AA9C-4B5FB4588CA3}"/>
              </a:ext>
            </a:extLst>
          </p:cNvPr>
          <p:cNvCxnSpPr>
            <a:cxnSpLocks/>
          </p:cNvCxnSpPr>
          <p:nvPr/>
        </p:nvCxnSpPr>
        <p:spPr>
          <a:xfrm>
            <a:off x="3294743" y="5797330"/>
            <a:ext cx="478971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C4C5EEA0-D19C-4516-86CB-00C0CC4B787A}"/>
              </a:ext>
            </a:extLst>
          </p:cNvPr>
          <p:cNvSpPr/>
          <p:nvPr/>
        </p:nvSpPr>
        <p:spPr>
          <a:xfrm>
            <a:off x="1882140" y="2430780"/>
            <a:ext cx="8915400" cy="2118360"/>
          </a:xfrm>
          <a:custGeom>
            <a:avLst/>
            <a:gdLst>
              <a:gd name="connsiteX0" fmla="*/ 0 w 8915400"/>
              <a:gd name="connsiteY0" fmla="*/ 1554480 h 2118360"/>
              <a:gd name="connsiteX1" fmla="*/ 144780 w 8915400"/>
              <a:gd name="connsiteY1" fmla="*/ 1546860 h 2118360"/>
              <a:gd name="connsiteX2" fmla="*/ 190500 w 8915400"/>
              <a:gd name="connsiteY2" fmla="*/ 1516380 h 2118360"/>
              <a:gd name="connsiteX3" fmla="*/ 243840 w 8915400"/>
              <a:gd name="connsiteY3" fmla="*/ 1584960 h 2118360"/>
              <a:gd name="connsiteX4" fmla="*/ 266700 w 8915400"/>
              <a:gd name="connsiteY4" fmla="*/ 1577340 h 2118360"/>
              <a:gd name="connsiteX5" fmla="*/ 327660 w 8915400"/>
              <a:gd name="connsiteY5" fmla="*/ 1630680 h 2118360"/>
              <a:gd name="connsiteX6" fmla="*/ 403860 w 8915400"/>
              <a:gd name="connsiteY6" fmla="*/ 1623060 h 2118360"/>
              <a:gd name="connsiteX7" fmla="*/ 472440 w 8915400"/>
              <a:gd name="connsiteY7" fmla="*/ 1668780 h 2118360"/>
              <a:gd name="connsiteX8" fmla="*/ 518160 w 8915400"/>
              <a:gd name="connsiteY8" fmla="*/ 1645920 h 2118360"/>
              <a:gd name="connsiteX9" fmla="*/ 594360 w 8915400"/>
              <a:gd name="connsiteY9" fmla="*/ 1722120 h 2118360"/>
              <a:gd name="connsiteX10" fmla="*/ 640080 w 8915400"/>
              <a:gd name="connsiteY10" fmla="*/ 1668780 h 2118360"/>
              <a:gd name="connsiteX11" fmla="*/ 723900 w 8915400"/>
              <a:gd name="connsiteY11" fmla="*/ 1783080 h 2118360"/>
              <a:gd name="connsiteX12" fmla="*/ 754380 w 8915400"/>
              <a:gd name="connsiteY12" fmla="*/ 1813560 h 2118360"/>
              <a:gd name="connsiteX13" fmla="*/ 784860 w 8915400"/>
              <a:gd name="connsiteY13" fmla="*/ 1790700 h 2118360"/>
              <a:gd name="connsiteX14" fmla="*/ 876300 w 8915400"/>
              <a:gd name="connsiteY14" fmla="*/ 1905000 h 2118360"/>
              <a:gd name="connsiteX15" fmla="*/ 914400 w 8915400"/>
              <a:gd name="connsiteY15" fmla="*/ 1836420 h 2118360"/>
              <a:gd name="connsiteX16" fmla="*/ 982980 w 8915400"/>
              <a:gd name="connsiteY16" fmla="*/ 1905000 h 2118360"/>
              <a:gd name="connsiteX17" fmla="*/ 1005840 w 8915400"/>
              <a:gd name="connsiteY17" fmla="*/ 1844040 h 2118360"/>
              <a:gd name="connsiteX18" fmla="*/ 1082040 w 8915400"/>
              <a:gd name="connsiteY18" fmla="*/ 1927860 h 2118360"/>
              <a:gd name="connsiteX19" fmla="*/ 1127760 w 8915400"/>
              <a:gd name="connsiteY19" fmla="*/ 1912620 h 2118360"/>
              <a:gd name="connsiteX20" fmla="*/ 1188720 w 8915400"/>
              <a:gd name="connsiteY20" fmla="*/ 1866900 h 2118360"/>
              <a:gd name="connsiteX21" fmla="*/ 1226820 w 8915400"/>
              <a:gd name="connsiteY21" fmla="*/ 1866900 h 2118360"/>
              <a:gd name="connsiteX22" fmla="*/ 1272540 w 8915400"/>
              <a:gd name="connsiteY22" fmla="*/ 1889760 h 2118360"/>
              <a:gd name="connsiteX23" fmla="*/ 1333500 w 8915400"/>
              <a:gd name="connsiteY23" fmla="*/ 1882140 h 2118360"/>
              <a:gd name="connsiteX24" fmla="*/ 1424940 w 8915400"/>
              <a:gd name="connsiteY24" fmla="*/ 1943100 h 2118360"/>
              <a:gd name="connsiteX25" fmla="*/ 1478280 w 8915400"/>
              <a:gd name="connsiteY25" fmla="*/ 1912620 h 2118360"/>
              <a:gd name="connsiteX26" fmla="*/ 1546860 w 8915400"/>
              <a:gd name="connsiteY26" fmla="*/ 1912620 h 2118360"/>
              <a:gd name="connsiteX27" fmla="*/ 1645920 w 8915400"/>
              <a:gd name="connsiteY27" fmla="*/ 1973580 h 2118360"/>
              <a:gd name="connsiteX28" fmla="*/ 1706880 w 8915400"/>
              <a:gd name="connsiteY28" fmla="*/ 1965960 h 2118360"/>
              <a:gd name="connsiteX29" fmla="*/ 1783080 w 8915400"/>
              <a:gd name="connsiteY29" fmla="*/ 2026920 h 2118360"/>
              <a:gd name="connsiteX30" fmla="*/ 1851660 w 8915400"/>
              <a:gd name="connsiteY30" fmla="*/ 1996440 h 2118360"/>
              <a:gd name="connsiteX31" fmla="*/ 1889760 w 8915400"/>
              <a:gd name="connsiteY31" fmla="*/ 1958340 h 2118360"/>
              <a:gd name="connsiteX32" fmla="*/ 1943100 w 8915400"/>
              <a:gd name="connsiteY32" fmla="*/ 2042160 h 2118360"/>
              <a:gd name="connsiteX33" fmla="*/ 1973580 w 8915400"/>
              <a:gd name="connsiteY33" fmla="*/ 1988820 h 2118360"/>
              <a:gd name="connsiteX34" fmla="*/ 2004060 w 8915400"/>
              <a:gd name="connsiteY34" fmla="*/ 2004060 h 2118360"/>
              <a:gd name="connsiteX35" fmla="*/ 2049780 w 8915400"/>
              <a:gd name="connsiteY35" fmla="*/ 1988820 h 2118360"/>
              <a:gd name="connsiteX36" fmla="*/ 2141220 w 8915400"/>
              <a:gd name="connsiteY36" fmla="*/ 2072640 h 2118360"/>
              <a:gd name="connsiteX37" fmla="*/ 2270760 w 8915400"/>
              <a:gd name="connsiteY37" fmla="*/ 2072640 h 2118360"/>
              <a:gd name="connsiteX38" fmla="*/ 2270760 w 8915400"/>
              <a:gd name="connsiteY38" fmla="*/ 2042160 h 2118360"/>
              <a:gd name="connsiteX39" fmla="*/ 2316480 w 8915400"/>
              <a:gd name="connsiteY39" fmla="*/ 2087880 h 2118360"/>
              <a:gd name="connsiteX40" fmla="*/ 2354580 w 8915400"/>
              <a:gd name="connsiteY40" fmla="*/ 2057400 h 2118360"/>
              <a:gd name="connsiteX41" fmla="*/ 2415540 w 8915400"/>
              <a:gd name="connsiteY41" fmla="*/ 2118360 h 2118360"/>
              <a:gd name="connsiteX42" fmla="*/ 2430780 w 8915400"/>
              <a:gd name="connsiteY42" fmla="*/ 2080260 h 2118360"/>
              <a:gd name="connsiteX43" fmla="*/ 2537460 w 8915400"/>
              <a:gd name="connsiteY43" fmla="*/ 2110740 h 2118360"/>
              <a:gd name="connsiteX44" fmla="*/ 2606040 w 8915400"/>
              <a:gd name="connsiteY44" fmla="*/ 2065020 h 2118360"/>
              <a:gd name="connsiteX45" fmla="*/ 2636520 w 8915400"/>
              <a:gd name="connsiteY45" fmla="*/ 2049780 h 2118360"/>
              <a:gd name="connsiteX46" fmla="*/ 2705100 w 8915400"/>
              <a:gd name="connsiteY46" fmla="*/ 2095500 h 2118360"/>
              <a:gd name="connsiteX47" fmla="*/ 2766060 w 8915400"/>
              <a:gd name="connsiteY47" fmla="*/ 2034540 h 2118360"/>
              <a:gd name="connsiteX48" fmla="*/ 2849880 w 8915400"/>
              <a:gd name="connsiteY48" fmla="*/ 2034540 h 2118360"/>
              <a:gd name="connsiteX49" fmla="*/ 2918460 w 8915400"/>
              <a:gd name="connsiteY49" fmla="*/ 1943100 h 2118360"/>
              <a:gd name="connsiteX50" fmla="*/ 3032760 w 8915400"/>
              <a:gd name="connsiteY50" fmla="*/ 1859280 h 2118360"/>
              <a:gd name="connsiteX51" fmla="*/ 3101340 w 8915400"/>
              <a:gd name="connsiteY51" fmla="*/ 1783080 h 2118360"/>
              <a:gd name="connsiteX52" fmla="*/ 3185160 w 8915400"/>
              <a:gd name="connsiteY52" fmla="*/ 1767840 h 2118360"/>
              <a:gd name="connsiteX53" fmla="*/ 3246120 w 8915400"/>
              <a:gd name="connsiteY53" fmla="*/ 1836420 h 2118360"/>
              <a:gd name="connsiteX54" fmla="*/ 3291840 w 8915400"/>
              <a:gd name="connsiteY54" fmla="*/ 1851660 h 2118360"/>
              <a:gd name="connsiteX55" fmla="*/ 3345180 w 8915400"/>
              <a:gd name="connsiteY55" fmla="*/ 1798320 h 2118360"/>
              <a:gd name="connsiteX56" fmla="*/ 3467100 w 8915400"/>
              <a:gd name="connsiteY56" fmla="*/ 1760220 h 2118360"/>
              <a:gd name="connsiteX57" fmla="*/ 3558540 w 8915400"/>
              <a:gd name="connsiteY57" fmla="*/ 1805940 h 2118360"/>
              <a:gd name="connsiteX58" fmla="*/ 3627120 w 8915400"/>
              <a:gd name="connsiteY58" fmla="*/ 1783080 h 2118360"/>
              <a:gd name="connsiteX59" fmla="*/ 3688080 w 8915400"/>
              <a:gd name="connsiteY59" fmla="*/ 1851660 h 2118360"/>
              <a:gd name="connsiteX60" fmla="*/ 3749040 w 8915400"/>
              <a:gd name="connsiteY60" fmla="*/ 1805940 h 2118360"/>
              <a:gd name="connsiteX61" fmla="*/ 3832860 w 8915400"/>
              <a:gd name="connsiteY61" fmla="*/ 1828800 h 2118360"/>
              <a:gd name="connsiteX62" fmla="*/ 3886200 w 8915400"/>
              <a:gd name="connsiteY62" fmla="*/ 1882140 h 2118360"/>
              <a:gd name="connsiteX63" fmla="*/ 3985260 w 8915400"/>
              <a:gd name="connsiteY63" fmla="*/ 1882140 h 2118360"/>
              <a:gd name="connsiteX64" fmla="*/ 4069080 w 8915400"/>
              <a:gd name="connsiteY64" fmla="*/ 1935480 h 2118360"/>
              <a:gd name="connsiteX65" fmla="*/ 4107180 w 8915400"/>
              <a:gd name="connsiteY65" fmla="*/ 1874520 h 2118360"/>
              <a:gd name="connsiteX66" fmla="*/ 4183380 w 8915400"/>
              <a:gd name="connsiteY66" fmla="*/ 1866900 h 2118360"/>
              <a:gd name="connsiteX67" fmla="*/ 4290060 w 8915400"/>
              <a:gd name="connsiteY67" fmla="*/ 1943100 h 2118360"/>
              <a:gd name="connsiteX68" fmla="*/ 4381500 w 8915400"/>
              <a:gd name="connsiteY68" fmla="*/ 1935480 h 2118360"/>
              <a:gd name="connsiteX69" fmla="*/ 4450080 w 8915400"/>
              <a:gd name="connsiteY69" fmla="*/ 1935480 h 2118360"/>
              <a:gd name="connsiteX70" fmla="*/ 4488180 w 8915400"/>
              <a:gd name="connsiteY70" fmla="*/ 1920240 h 2118360"/>
              <a:gd name="connsiteX71" fmla="*/ 4533900 w 8915400"/>
              <a:gd name="connsiteY71" fmla="*/ 1996440 h 2118360"/>
              <a:gd name="connsiteX72" fmla="*/ 4602480 w 8915400"/>
              <a:gd name="connsiteY72" fmla="*/ 1943100 h 2118360"/>
              <a:gd name="connsiteX73" fmla="*/ 4671060 w 8915400"/>
              <a:gd name="connsiteY73" fmla="*/ 1981200 h 2118360"/>
              <a:gd name="connsiteX74" fmla="*/ 4724400 w 8915400"/>
              <a:gd name="connsiteY74" fmla="*/ 1950720 h 2118360"/>
              <a:gd name="connsiteX75" fmla="*/ 4785360 w 8915400"/>
              <a:gd name="connsiteY75" fmla="*/ 1897380 h 2118360"/>
              <a:gd name="connsiteX76" fmla="*/ 4838700 w 8915400"/>
              <a:gd name="connsiteY76" fmla="*/ 1905000 h 2118360"/>
              <a:gd name="connsiteX77" fmla="*/ 4899660 w 8915400"/>
              <a:gd name="connsiteY77" fmla="*/ 1889760 h 2118360"/>
              <a:gd name="connsiteX78" fmla="*/ 4945380 w 8915400"/>
              <a:gd name="connsiteY78" fmla="*/ 1821180 h 2118360"/>
              <a:gd name="connsiteX79" fmla="*/ 5036820 w 8915400"/>
              <a:gd name="connsiteY79" fmla="*/ 1828800 h 2118360"/>
              <a:gd name="connsiteX80" fmla="*/ 5158740 w 8915400"/>
              <a:gd name="connsiteY80" fmla="*/ 1615440 h 2118360"/>
              <a:gd name="connsiteX81" fmla="*/ 5212080 w 8915400"/>
              <a:gd name="connsiteY81" fmla="*/ 1348740 h 2118360"/>
              <a:gd name="connsiteX82" fmla="*/ 5288280 w 8915400"/>
              <a:gd name="connsiteY82" fmla="*/ 1188720 h 2118360"/>
              <a:gd name="connsiteX83" fmla="*/ 5326380 w 8915400"/>
              <a:gd name="connsiteY83" fmla="*/ 1043940 h 2118360"/>
              <a:gd name="connsiteX84" fmla="*/ 5364480 w 8915400"/>
              <a:gd name="connsiteY84" fmla="*/ 1112520 h 2118360"/>
              <a:gd name="connsiteX85" fmla="*/ 5448300 w 8915400"/>
              <a:gd name="connsiteY85" fmla="*/ 922020 h 2118360"/>
              <a:gd name="connsiteX86" fmla="*/ 5478780 w 8915400"/>
              <a:gd name="connsiteY86" fmla="*/ 998220 h 2118360"/>
              <a:gd name="connsiteX87" fmla="*/ 5532120 w 8915400"/>
              <a:gd name="connsiteY87" fmla="*/ 1013460 h 2118360"/>
              <a:gd name="connsiteX88" fmla="*/ 5554980 w 8915400"/>
              <a:gd name="connsiteY88" fmla="*/ 922020 h 2118360"/>
              <a:gd name="connsiteX89" fmla="*/ 5631180 w 8915400"/>
              <a:gd name="connsiteY89" fmla="*/ 937260 h 2118360"/>
              <a:gd name="connsiteX90" fmla="*/ 5699760 w 8915400"/>
              <a:gd name="connsiteY90" fmla="*/ 1074420 h 2118360"/>
              <a:gd name="connsiteX91" fmla="*/ 5737860 w 8915400"/>
              <a:gd name="connsiteY91" fmla="*/ 1120140 h 2118360"/>
              <a:gd name="connsiteX92" fmla="*/ 5798820 w 8915400"/>
              <a:gd name="connsiteY92" fmla="*/ 1066800 h 2118360"/>
              <a:gd name="connsiteX93" fmla="*/ 5844540 w 8915400"/>
              <a:gd name="connsiteY93" fmla="*/ 1127760 h 2118360"/>
              <a:gd name="connsiteX94" fmla="*/ 5905500 w 8915400"/>
              <a:gd name="connsiteY94" fmla="*/ 1097280 h 2118360"/>
              <a:gd name="connsiteX95" fmla="*/ 5935980 w 8915400"/>
              <a:gd name="connsiteY95" fmla="*/ 1112520 h 2118360"/>
              <a:gd name="connsiteX96" fmla="*/ 5943600 w 8915400"/>
              <a:gd name="connsiteY96" fmla="*/ 1074420 h 2118360"/>
              <a:gd name="connsiteX97" fmla="*/ 5981700 w 8915400"/>
              <a:gd name="connsiteY97" fmla="*/ 1196340 h 2118360"/>
              <a:gd name="connsiteX98" fmla="*/ 6050280 w 8915400"/>
              <a:gd name="connsiteY98" fmla="*/ 1158240 h 2118360"/>
              <a:gd name="connsiteX99" fmla="*/ 6096000 w 8915400"/>
              <a:gd name="connsiteY99" fmla="*/ 1249680 h 2118360"/>
              <a:gd name="connsiteX100" fmla="*/ 6202680 w 8915400"/>
              <a:gd name="connsiteY100" fmla="*/ 1386840 h 2118360"/>
              <a:gd name="connsiteX101" fmla="*/ 6271260 w 8915400"/>
              <a:gd name="connsiteY101" fmla="*/ 1303020 h 2118360"/>
              <a:gd name="connsiteX102" fmla="*/ 6332220 w 8915400"/>
              <a:gd name="connsiteY102" fmla="*/ 1287780 h 2118360"/>
              <a:gd name="connsiteX103" fmla="*/ 6400800 w 8915400"/>
              <a:gd name="connsiteY103" fmla="*/ 1386840 h 2118360"/>
              <a:gd name="connsiteX104" fmla="*/ 6484620 w 8915400"/>
              <a:gd name="connsiteY104" fmla="*/ 1379220 h 2118360"/>
              <a:gd name="connsiteX105" fmla="*/ 6530340 w 8915400"/>
              <a:gd name="connsiteY105" fmla="*/ 1478280 h 2118360"/>
              <a:gd name="connsiteX106" fmla="*/ 6598920 w 8915400"/>
              <a:gd name="connsiteY106" fmla="*/ 1432560 h 2118360"/>
              <a:gd name="connsiteX107" fmla="*/ 6644640 w 8915400"/>
              <a:gd name="connsiteY107" fmla="*/ 1455420 h 2118360"/>
              <a:gd name="connsiteX108" fmla="*/ 6697980 w 8915400"/>
              <a:gd name="connsiteY108" fmla="*/ 1531620 h 2118360"/>
              <a:gd name="connsiteX109" fmla="*/ 6766560 w 8915400"/>
              <a:gd name="connsiteY109" fmla="*/ 1630680 h 2118360"/>
              <a:gd name="connsiteX110" fmla="*/ 6873240 w 8915400"/>
              <a:gd name="connsiteY110" fmla="*/ 1615440 h 2118360"/>
              <a:gd name="connsiteX111" fmla="*/ 6880860 w 8915400"/>
              <a:gd name="connsiteY111" fmla="*/ 1699260 h 2118360"/>
              <a:gd name="connsiteX112" fmla="*/ 6934200 w 8915400"/>
              <a:gd name="connsiteY112" fmla="*/ 1691640 h 2118360"/>
              <a:gd name="connsiteX113" fmla="*/ 6941820 w 8915400"/>
              <a:gd name="connsiteY113" fmla="*/ 1760220 h 2118360"/>
              <a:gd name="connsiteX114" fmla="*/ 7010400 w 8915400"/>
              <a:gd name="connsiteY114" fmla="*/ 1714500 h 2118360"/>
              <a:gd name="connsiteX115" fmla="*/ 7048500 w 8915400"/>
              <a:gd name="connsiteY115" fmla="*/ 1783080 h 2118360"/>
              <a:gd name="connsiteX116" fmla="*/ 7094220 w 8915400"/>
              <a:gd name="connsiteY116" fmla="*/ 1790700 h 2118360"/>
              <a:gd name="connsiteX117" fmla="*/ 7185660 w 8915400"/>
              <a:gd name="connsiteY117" fmla="*/ 1722120 h 2118360"/>
              <a:gd name="connsiteX118" fmla="*/ 7193280 w 8915400"/>
              <a:gd name="connsiteY118" fmla="*/ 1775460 h 2118360"/>
              <a:gd name="connsiteX119" fmla="*/ 7254240 w 8915400"/>
              <a:gd name="connsiteY119" fmla="*/ 1783080 h 2118360"/>
              <a:gd name="connsiteX120" fmla="*/ 7307580 w 8915400"/>
              <a:gd name="connsiteY120" fmla="*/ 1805940 h 2118360"/>
              <a:gd name="connsiteX121" fmla="*/ 7353300 w 8915400"/>
              <a:gd name="connsiteY121" fmla="*/ 1760220 h 2118360"/>
              <a:gd name="connsiteX122" fmla="*/ 7376160 w 8915400"/>
              <a:gd name="connsiteY122" fmla="*/ 1844040 h 2118360"/>
              <a:gd name="connsiteX123" fmla="*/ 7459980 w 8915400"/>
              <a:gd name="connsiteY123" fmla="*/ 1775460 h 2118360"/>
              <a:gd name="connsiteX124" fmla="*/ 7536180 w 8915400"/>
              <a:gd name="connsiteY124" fmla="*/ 1828800 h 2118360"/>
              <a:gd name="connsiteX125" fmla="*/ 7597140 w 8915400"/>
              <a:gd name="connsiteY125" fmla="*/ 1767840 h 2118360"/>
              <a:gd name="connsiteX126" fmla="*/ 7627620 w 8915400"/>
              <a:gd name="connsiteY126" fmla="*/ 1844040 h 2118360"/>
              <a:gd name="connsiteX127" fmla="*/ 7680960 w 8915400"/>
              <a:gd name="connsiteY127" fmla="*/ 1828800 h 2118360"/>
              <a:gd name="connsiteX128" fmla="*/ 7734300 w 8915400"/>
              <a:gd name="connsiteY128" fmla="*/ 1897380 h 2118360"/>
              <a:gd name="connsiteX129" fmla="*/ 7787640 w 8915400"/>
              <a:gd name="connsiteY129" fmla="*/ 1905000 h 2118360"/>
              <a:gd name="connsiteX130" fmla="*/ 7856220 w 8915400"/>
              <a:gd name="connsiteY130" fmla="*/ 1836420 h 2118360"/>
              <a:gd name="connsiteX131" fmla="*/ 7879080 w 8915400"/>
              <a:gd name="connsiteY131" fmla="*/ 1950720 h 2118360"/>
              <a:gd name="connsiteX132" fmla="*/ 7947660 w 8915400"/>
              <a:gd name="connsiteY132" fmla="*/ 1950720 h 2118360"/>
              <a:gd name="connsiteX133" fmla="*/ 7993380 w 8915400"/>
              <a:gd name="connsiteY133" fmla="*/ 1950720 h 2118360"/>
              <a:gd name="connsiteX134" fmla="*/ 8092440 w 8915400"/>
              <a:gd name="connsiteY134" fmla="*/ 1996440 h 2118360"/>
              <a:gd name="connsiteX135" fmla="*/ 8145780 w 8915400"/>
              <a:gd name="connsiteY135" fmla="*/ 1981200 h 2118360"/>
              <a:gd name="connsiteX136" fmla="*/ 8214360 w 8915400"/>
              <a:gd name="connsiteY136" fmla="*/ 2004060 h 2118360"/>
              <a:gd name="connsiteX137" fmla="*/ 8305800 w 8915400"/>
              <a:gd name="connsiteY137" fmla="*/ 2049780 h 2118360"/>
              <a:gd name="connsiteX138" fmla="*/ 8382000 w 8915400"/>
              <a:gd name="connsiteY138" fmla="*/ 2072640 h 2118360"/>
              <a:gd name="connsiteX139" fmla="*/ 8404860 w 8915400"/>
              <a:gd name="connsiteY139" fmla="*/ 2004060 h 2118360"/>
              <a:gd name="connsiteX140" fmla="*/ 8488680 w 8915400"/>
              <a:gd name="connsiteY140" fmla="*/ 2057400 h 2118360"/>
              <a:gd name="connsiteX141" fmla="*/ 8549640 w 8915400"/>
              <a:gd name="connsiteY141" fmla="*/ 2004060 h 2118360"/>
              <a:gd name="connsiteX142" fmla="*/ 8641080 w 8915400"/>
              <a:gd name="connsiteY142" fmla="*/ 2042160 h 2118360"/>
              <a:gd name="connsiteX143" fmla="*/ 8671560 w 8915400"/>
              <a:gd name="connsiteY143" fmla="*/ 0 h 2118360"/>
              <a:gd name="connsiteX144" fmla="*/ 8724900 w 8915400"/>
              <a:gd name="connsiteY144" fmla="*/ 701040 h 2118360"/>
              <a:gd name="connsiteX145" fmla="*/ 8785860 w 8915400"/>
              <a:gd name="connsiteY145" fmla="*/ 1005840 h 2118360"/>
              <a:gd name="connsiteX146" fmla="*/ 8831580 w 8915400"/>
              <a:gd name="connsiteY146" fmla="*/ 1394460 h 2118360"/>
              <a:gd name="connsiteX147" fmla="*/ 8915400 w 8915400"/>
              <a:gd name="connsiteY147" fmla="*/ 1485900 h 2118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8915400" h="2118360">
                <a:moveTo>
                  <a:pt x="0" y="1554480"/>
                </a:moveTo>
                <a:lnTo>
                  <a:pt x="144780" y="1546860"/>
                </a:lnTo>
                <a:lnTo>
                  <a:pt x="190500" y="1516380"/>
                </a:lnTo>
                <a:lnTo>
                  <a:pt x="243840" y="1584960"/>
                </a:lnTo>
                <a:lnTo>
                  <a:pt x="266700" y="1577340"/>
                </a:lnTo>
                <a:lnTo>
                  <a:pt x="327660" y="1630680"/>
                </a:lnTo>
                <a:lnTo>
                  <a:pt x="403860" y="1623060"/>
                </a:lnTo>
                <a:lnTo>
                  <a:pt x="472440" y="1668780"/>
                </a:lnTo>
                <a:lnTo>
                  <a:pt x="518160" y="1645920"/>
                </a:lnTo>
                <a:lnTo>
                  <a:pt x="594360" y="1722120"/>
                </a:lnTo>
                <a:lnTo>
                  <a:pt x="640080" y="1668780"/>
                </a:lnTo>
                <a:lnTo>
                  <a:pt x="723900" y="1783080"/>
                </a:lnTo>
                <a:lnTo>
                  <a:pt x="754380" y="1813560"/>
                </a:lnTo>
                <a:lnTo>
                  <a:pt x="784860" y="1790700"/>
                </a:lnTo>
                <a:lnTo>
                  <a:pt x="876300" y="1905000"/>
                </a:lnTo>
                <a:lnTo>
                  <a:pt x="914400" y="1836420"/>
                </a:lnTo>
                <a:lnTo>
                  <a:pt x="982980" y="1905000"/>
                </a:lnTo>
                <a:lnTo>
                  <a:pt x="1005840" y="1844040"/>
                </a:lnTo>
                <a:lnTo>
                  <a:pt x="1082040" y="1927860"/>
                </a:lnTo>
                <a:lnTo>
                  <a:pt x="1127760" y="1912620"/>
                </a:lnTo>
                <a:lnTo>
                  <a:pt x="1188720" y="1866900"/>
                </a:lnTo>
                <a:lnTo>
                  <a:pt x="1226820" y="1866900"/>
                </a:lnTo>
                <a:lnTo>
                  <a:pt x="1272540" y="1889760"/>
                </a:lnTo>
                <a:lnTo>
                  <a:pt x="1333500" y="1882140"/>
                </a:lnTo>
                <a:lnTo>
                  <a:pt x="1424940" y="1943100"/>
                </a:lnTo>
                <a:lnTo>
                  <a:pt x="1478280" y="1912620"/>
                </a:lnTo>
                <a:lnTo>
                  <a:pt x="1546860" y="1912620"/>
                </a:lnTo>
                <a:lnTo>
                  <a:pt x="1645920" y="1973580"/>
                </a:lnTo>
                <a:lnTo>
                  <a:pt x="1706880" y="1965960"/>
                </a:lnTo>
                <a:lnTo>
                  <a:pt x="1783080" y="2026920"/>
                </a:lnTo>
                <a:lnTo>
                  <a:pt x="1851660" y="1996440"/>
                </a:lnTo>
                <a:lnTo>
                  <a:pt x="1889760" y="1958340"/>
                </a:lnTo>
                <a:lnTo>
                  <a:pt x="1943100" y="2042160"/>
                </a:lnTo>
                <a:lnTo>
                  <a:pt x="1973580" y="1988820"/>
                </a:lnTo>
                <a:lnTo>
                  <a:pt x="2004060" y="2004060"/>
                </a:lnTo>
                <a:lnTo>
                  <a:pt x="2049780" y="1988820"/>
                </a:lnTo>
                <a:lnTo>
                  <a:pt x="2141220" y="2072640"/>
                </a:lnTo>
                <a:lnTo>
                  <a:pt x="2270760" y="2072640"/>
                </a:lnTo>
                <a:lnTo>
                  <a:pt x="2270760" y="2042160"/>
                </a:lnTo>
                <a:lnTo>
                  <a:pt x="2316480" y="2087880"/>
                </a:lnTo>
                <a:lnTo>
                  <a:pt x="2354580" y="2057400"/>
                </a:lnTo>
                <a:lnTo>
                  <a:pt x="2415540" y="2118360"/>
                </a:lnTo>
                <a:lnTo>
                  <a:pt x="2430780" y="2080260"/>
                </a:lnTo>
                <a:lnTo>
                  <a:pt x="2537460" y="2110740"/>
                </a:lnTo>
                <a:lnTo>
                  <a:pt x="2606040" y="2065020"/>
                </a:lnTo>
                <a:lnTo>
                  <a:pt x="2636520" y="2049780"/>
                </a:lnTo>
                <a:lnTo>
                  <a:pt x="2705100" y="2095500"/>
                </a:lnTo>
                <a:lnTo>
                  <a:pt x="2766060" y="2034540"/>
                </a:lnTo>
                <a:lnTo>
                  <a:pt x="2849880" y="2034540"/>
                </a:lnTo>
                <a:lnTo>
                  <a:pt x="2918460" y="1943100"/>
                </a:lnTo>
                <a:lnTo>
                  <a:pt x="3032760" y="1859280"/>
                </a:lnTo>
                <a:lnTo>
                  <a:pt x="3101340" y="1783080"/>
                </a:lnTo>
                <a:lnTo>
                  <a:pt x="3185160" y="1767840"/>
                </a:lnTo>
                <a:lnTo>
                  <a:pt x="3246120" y="1836420"/>
                </a:lnTo>
                <a:lnTo>
                  <a:pt x="3291840" y="1851660"/>
                </a:lnTo>
                <a:lnTo>
                  <a:pt x="3345180" y="1798320"/>
                </a:lnTo>
                <a:lnTo>
                  <a:pt x="3467100" y="1760220"/>
                </a:lnTo>
                <a:lnTo>
                  <a:pt x="3558540" y="1805940"/>
                </a:lnTo>
                <a:lnTo>
                  <a:pt x="3627120" y="1783080"/>
                </a:lnTo>
                <a:lnTo>
                  <a:pt x="3688080" y="1851660"/>
                </a:lnTo>
                <a:lnTo>
                  <a:pt x="3749040" y="1805940"/>
                </a:lnTo>
                <a:lnTo>
                  <a:pt x="3832860" y="1828800"/>
                </a:lnTo>
                <a:lnTo>
                  <a:pt x="3886200" y="1882140"/>
                </a:lnTo>
                <a:lnTo>
                  <a:pt x="3985260" y="1882140"/>
                </a:lnTo>
                <a:lnTo>
                  <a:pt x="4069080" y="1935480"/>
                </a:lnTo>
                <a:lnTo>
                  <a:pt x="4107180" y="1874520"/>
                </a:lnTo>
                <a:lnTo>
                  <a:pt x="4183380" y="1866900"/>
                </a:lnTo>
                <a:lnTo>
                  <a:pt x="4290060" y="1943100"/>
                </a:lnTo>
                <a:lnTo>
                  <a:pt x="4381500" y="1935480"/>
                </a:lnTo>
                <a:lnTo>
                  <a:pt x="4450080" y="1935480"/>
                </a:lnTo>
                <a:lnTo>
                  <a:pt x="4488180" y="1920240"/>
                </a:lnTo>
                <a:lnTo>
                  <a:pt x="4533900" y="1996440"/>
                </a:lnTo>
                <a:lnTo>
                  <a:pt x="4602480" y="1943100"/>
                </a:lnTo>
                <a:lnTo>
                  <a:pt x="4671060" y="1981200"/>
                </a:lnTo>
                <a:lnTo>
                  <a:pt x="4724400" y="1950720"/>
                </a:lnTo>
                <a:lnTo>
                  <a:pt x="4785360" y="1897380"/>
                </a:lnTo>
                <a:lnTo>
                  <a:pt x="4838700" y="1905000"/>
                </a:lnTo>
                <a:lnTo>
                  <a:pt x="4899660" y="1889760"/>
                </a:lnTo>
                <a:lnTo>
                  <a:pt x="4945380" y="1821180"/>
                </a:lnTo>
                <a:lnTo>
                  <a:pt x="5036820" y="1828800"/>
                </a:lnTo>
                <a:lnTo>
                  <a:pt x="5158740" y="1615440"/>
                </a:lnTo>
                <a:lnTo>
                  <a:pt x="5212080" y="1348740"/>
                </a:lnTo>
                <a:lnTo>
                  <a:pt x="5288280" y="1188720"/>
                </a:lnTo>
                <a:lnTo>
                  <a:pt x="5326380" y="1043940"/>
                </a:lnTo>
                <a:lnTo>
                  <a:pt x="5364480" y="1112520"/>
                </a:lnTo>
                <a:lnTo>
                  <a:pt x="5448300" y="922020"/>
                </a:lnTo>
                <a:lnTo>
                  <a:pt x="5478780" y="998220"/>
                </a:lnTo>
                <a:lnTo>
                  <a:pt x="5532120" y="1013460"/>
                </a:lnTo>
                <a:lnTo>
                  <a:pt x="5554980" y="922020"/>
                </a:lnTo>
                <a:lnTo>
                  <a:pt x="5631180" y="937260"/>
                </a:lnTo>
                <a:lnTo>
                  <a:pt x="5699760" y="1074420"/>
                </a:lnTo>
                <a:lnTo>
                  <a:pt x="5737860" y="1120140"/>
                </a:lnTo>
                <a:lnTo>
                  <a:pt x="5798820" y="1066800"/>
                </a:lnTo>
                <a:lnTo>
                  <a:pt x="5844540" y="1127760"/>
                </a:lnTo>
                <a:lnTo>
                  <a:pt x="5905500" y="1097280"/>
                </a:lnTo>
                <a:lnTo>
                  <a:pt x="5935980" y="1112520"/>
                </a:lnTo>
                <a:lnTo>
                  <a:pt x="5943600" y="1074420"/>
                </a:lnTo>
                <a:lnTo>
                  <a:pt x="5981700" y="1196340"/>
                </a:lnTo>
                <a:lnTo>
                  <a:pt x="6050280" y="1158240"/>
                </a:lnTo>
                <a:lnTo>
                  <a:pt x="6096000" y="1249680"/>
                </a:lnTo>
                <a:lnTo>
                  <a:pt x="6202680" y="1386840"/>
                </a:lnTo>
                <a:lnTo>
                  <a:pt x="6271260" y="1303020"/>
                </a:lnTo>
                <a:lnTo>
                  <a:pt x="6332220" y="1287780"/>
                </a:lnTo>
                <a:lnTo>
                  <a:pt x="6400800" y="1386840"/>
                </a:lnTo>
                <a:lnTo>
                  <a:pt x="6484620" y="1379220"/>
                </a:lnTo>
                <a:lnTo>
                  <a:pt x="6530340" y="1478280"/>
                </a:lnTo>
                <a:lnTo>
                  <a:pt x="6598920" y="1432560"/>
                </a:lnTo>
                <a:lnTo>
                  <a:pt x="6644640" y="1455420"/>
                </a:lnTo>
                <a:lnTo>
                  <a:pt x="6697980" y="1531620"/>
                </a:lnTo>
                <a:lnTo>
                  <a:pt x="6766560" y="1630680"/>
                </a:lnTo>
                <a:lnTo>
                  <a:pt x="6873240" y="1615440"/>
                </a:lnTo>
                <a:lnTo>
                  <a:pt x="6880860" y="1699260"/>
                </a:lnTo>
                <a:lnTo>
                  <a:pt x="6934200" y="1691640"/>
                </a:lnTo>
                <a:lnTo>
                  <a:pt x="6941820" y="1760220"/>
                </a:lnTo>
                <a:lnTo>
                  <a:pt x="7010400" y="1714500"/>
                </a:lnTo>
                <a:lnTo>
                  <a:pt x="7048500" y="1783080"/>
                </a:lnTo>
                <a:lnTo>
                  <a:pt x="7094220" y="1790700"/>
                </a:lnTo>
                <a:lnTo>
                  <a:pt x="7185660" y="1722120"/>
                </a:lnTo>
                <a:lnTo>
                  <a:pt x="7193280" y="1775460"/>
                </a:lnTo>
                <a:lnTo>
                  <a:pt x="7254240" y="1783080"/>
                </a:lnTo>
                <a:lnTo>
                  <a:pt x="7307580" y="1805940"/>
                </a:lnTo>
                <a:lnTo>
                  <a:pt x="7353300" y="1760220"/>
                </a:lnTo>
                <a:lnTo>
                  <a:pt x="7376160" y="1844040"/>
                </a:lnTo>
                <a:lnTo>
                  <a:pt x="7459980" y="1775460"/>
                </a:lnTo>
                <a:lnTo>
                  <a:pt x="7536180" y="1828800"/>
                </a:lnTo>
                <a:lnTo>
                  <a:pt x="7597140" y="1767840"/>
                </a:lnTo>
                <a:lnTo>
                  <a:pt x="7627620" y="1844040"/>
                </a:lnTo>
                <a:lnTo>
                  <a:pt x="7680960" y="1828800"/>
                </a:lnTo>
                <a:lnTo>
                  <a:pt x="7734300" y="1897380"/>
                </a:lnTo>
                <a:lnTo>
                  <a:pt x="7787640" y="1905000"/>
                </a:lnTo>
                <a:lnTo>
                  <a:pt x="7856220" y="1836420"/>
                </a:lnTo>
                <a:lnTo>
                  <a:pt x="7879080" y="1950720"/>
                </a:lnTo>
                <a:lnTo>
                  <a:pt x="7947660" y="1950720"/>
                </a:lnTo>
                <a:lnTo>
                  <a:pt x="7993380" y="1950720"/>
                </a:lnTo>
                <a:lnTo>
                  <a:pt x="8092440" y="1996440"/>
                </a:lnTo>
                <a:lnTo>
                  <a:pt x="8145780" y="1981200"/>
                </a:lnTo>
                <a:lnTo>
                  <a:pt x="8214360" y="2004060"/>
                </a:lnTo>
                <a:lnTo>
                  <a:pt x="8305800" y="2049780"/>
                </a:lnTo>
                <a:lnTo>
                  <a:pt x="8382000" y="2072640"/>
                </a:lnTo>
                <a:lnTo>
                  <a:pt x="8404860" y="2004060"/>
                </a:lnTo>
                <a:lnTo>
                  <a:pt x="8488680" y="2057400"/>
                </a:lnTo>
                <a:lnTo>
                  <a:pt x="8549640" y="2004060"/>
                </a:lnTo>
                <a:lnTo>
                  <a:pt x="8641080" y="2042160"/>
                </a:lnTo>
                <a:lnTo>
                  <a:pt x="8671560" y="0"/>
                </a:lnTo>
                <a:lnTo>
                  <a:pt x="8724900" y="701040"/>
                </a:lnTo>
                <a:lnTo>
                  <a:pt x="8785860" y="1005840"/>
                </a:lnTo>
                <a:lnTo>
                  <a:pt x="8831580" y="1394460"/>
                </a:lnTo>
                <a:lnTo>
                  <a:pt x="8915400" y="1485900"/>
                </a:lnTo>
              </a:path>
            </a:pathLst>
          </a:custGeom>
          <a:noFill/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97449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F71748D-9BAC-4CD3-B8EF-1C01B0C59E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9251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5" name="think-cell Slide" r:id="rId6" imgW="353" imgH="363" progId="TCLayout.ActiveDocument.1">
                  <p:embed/>
                </p:oleObj>
              </mc:Choice>
              <mc:Fallback>
                <p:oleObj name="think-cell Slide" r:id="rId6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F71748D-9BAC-4CD3-B8EF-1C01B0C59E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3DB473B-449D-40A2-B039-9519995270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IN" sz="4800" dirty="0">
              <a:latin typeface="Libre Franklin Thin" panose="020B0604020202020204" charset="0"/>
              <a:sym typeface="Libre Franklin Thin" panose="020B060402020202020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F59EC7-7F75-4425-84B9-5F81AA26E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IN" dirty="0"/>
              <a:t>What conclusions can you draw from this chart?</a:t>
            </a:r>
          </a:p>
        </p:txBody>
      </p:sp>
      <p:sp>
        <p:nvSpPr>
          <p:cNvPr id="4" name="Google Shape;14;p11">
            <a:extLst>
              <a:ext uri="{FF2B5EF4-FFF2-40B4-BE49-F238E27FC236}">
                <a16:creationId xmlns:a16="http://schemas.microsoft.com/office/drawing/2014/main" id="{523CACD1-B6E9-484D-A93B-291133AC6C74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5" name="Google Shape;16;p11">
            <a:extLst>
              <a:ext uri="{FF2B5EF4-FFF2-40B4-BE49-F238E27FC236}">
                <a16:creationId xmlns:a16="http://schemas.microsoft.com/office/drawing/2014/main" id="{9784C0D3-4933-4B52-8B1E-2435F19A276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0" marR="0" lvl="1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0" marR="0" lvl="2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0" marR="0" lvl="3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0" marR="0" lvl="4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0" marR="0" lvl="5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0" marR="0" lvl="6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0" marR="0" lvl="7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0" marR="0" lvl="8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7</a:t>
            </a:fld>
            <a:endParaRPr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A28E0E7-1095-4348-9191-39D9F6BA3313}"/>
              </a:ext>
            </a:extLst>
          </p:cNvPr>
          <p:cNvSpPr txBox="1">
            <a:spLocks/>
          </p:cNvSpPr>
          <p:nvPr/>
        </p:nvSpPr>
        <p:spPr>
          <a:xfrm>
            <a:off x="1097280" y="1833209"/>
            <a:ext cx="10058400" cy="3385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spcFirstLastPara="1" wrap="square" lIns="91440" tIns="45720" rIns="91440" bIns="4572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600" b="1" dirty="0">
                <a:solidFill>
                  <a:schemeClr val="bg1"/>
                </a:solidFill>
              </a:rPr>
              <a:t>Add to the menti!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14B3064C-200B-4C54-9E29-753DCD234E7A}"/>
              </a:ext>
            </a:extLst>
          </p:cNvPr>
          <p:cNvSpPr txBox="1">
            <a:spLocks/>
          </p:cNvSpPr>
          <p:nvPr/>
        </p:nvSpPr>
        <p:spPr>
          <a:xfrm>
            <a:off x="1092199" y="5899759"/>
            <a:ext cx="10120283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en-IN" sz="10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000" dirty="0"/>
              <a:t>Source: U.S. Bureau of Labor Statistic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CD0A70D-511D-4AD6-BC52-575C8F01FFAE}"/>
              </a:ext>
            </a:extLst>
          </p:cNvPr>
          <p:cNvSpPr txBox="1">
            <a:spLocks/>
          </p:cNvSpPr>
          <p:nvPr/>
        </p:nvSpPr>
        <p:spPr>
          <a:xfrm>
            <a:off x="1097281" y="2247900"/>
            <a:ext cx="10058400" cy="33855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spcFirstLastPara="1" wrap="square" lIns="91440" tIns="45720" rIns="91440" bIns="4572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600" b="1" dirty="0">
                <a:solidFill>
                  <a:schemeClr val="bg1"/>
                </a:solidFill>
              </a:rPr>
              <a:t>Unemployment Rates Among Women</a:t>
            </a:r>
          </a:p>
        </p:txBody>
      </p:sp>
      <p:graphicFrame>
        <p:nvGraphicFramePr>
          <p:cNvPr id="18" name="Google Shape;105;p3">
            <a:extLst>
              <a:ext uri="{FF2B5EF4-FFF2-40B4-BE49-F238E27FC236}">
                <a16:creationId xmlns:a16="http://schemas.microsoft.com/office/drawing/2014/main" id="{2E4D835B-C284-440F-AFD2-65B55A2BADA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55921947"/>
              </p:ext>
            </p:extLst>
          </p:nvPr>
        </p:nvGraphicFramePr>
        <p:xfrm>
          <a:off x="1097282" y="2662591"/>
          <a:ext cx="10058402" cy="324336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10490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5078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59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1564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5078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417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0739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5078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89726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1183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5078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78528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716284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6120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b="1" u="none" strike="noStrike" cap="none" dirty="0">
                          <a:solidFill>
                            <a:schemeClr val="lt1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Race/</a:t>
                      </a:r>
                      <a:endParaRPr sz="1600" b="1" u="none" strike="noStrike" cap="none" dirty="0">
                        <a:solidFill>
                          <a:schemeClr val="lt1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b="1" u="none" strike="noStrike" cap="none" dirty="0">
                          <a:solidFill>
                            <a:schemeClr val="lt1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Ethnicity</a:t>
                      </a:r>
                      <a:endParaRPr sz="1600" b="1" u="none" strike="noStrike" cap="none" dirty="0">
                        <a:solidFill>
                          <a:schemeClr val="lt1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36000" marB="3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3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b="1" u="none" strike="noStrike" cap="none" dirty="0">
                          <a:solidFill>
                            <a:schemeClr val="lt1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White </a:t>
                      </a:r>
                      <a:endParaRPr sz="1600" b="1" u="none" strike="noStrike" cap="none" dirty="0">
                        <a:solidFill>
                          <a:schemeClr val="lt1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36000" marB="3600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endParaRPr sz="1600" b="1" u="none" strike="noStrike" cap="none" dirty="0">
                        <a:solidFill>
                          <a:schemeClr val="lt1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36000" marB="3600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3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b="1" u="none" strike="noStrike" cap="none" dirty="0">
                          <a:solidFill>
                            <a:schemeClr val="lt1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Black</a:t>
                      </a:r>
                      <a:endParaRPr sz="1600" b="1" u="none" strike="noStrike" cap="none" dirty="0">
                        <a:solidFill>
                          <a:schemeClr val="lt1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36000" marB="3600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endParaRPr sz="1600" b="1" u="none" strike="noStrike" cap="none" dirty="0">
                        <a:solidFill>
                          <a:schemeClr val="lt1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36000" marB="3600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3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b="1" u="none" strike="noStrike" cap="none" dirty="0">
                          <a:solidFill>
                            <a:schemeClr val="lt1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Hispanic</a:t>
                      </a:r>
                      <a:endParaRPr sz="1600" b="1" u="none" strike="noStrike" cap="none" dirty="0">
                        <a:solidFill>
                          <a:schemeClr val="lt1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36000" marB="3600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endParaRPr sz="1600" b="1" u="none" strike="noStrike" cap="none" dirty="0">
                        <a:solidFill>
                          <a:schemeClr val="lt1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36000" marB="3600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3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b="1" u="none" strike="noStrike" cap="none" dirty="0">
                          <a:solidFill>
                            <a:schemeClr val="lt1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Asian</a:t>
                      </a:r>
                      <a:endParaRPr sz="1600" b="1" u="none" strike="noStrike" cap="none" dirty="0">
                        <a:solidFill>
                          <a:schemeClr val="lt1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36000" marB="3600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endParaRPr sz="1600" b="1" u="none" strike="noStrike" cap="none" dirty="0">
                        <a:solidFill>
                          <a:schemeClr val="lt1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36000" marB="36000" anchor="ctr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b="1" u="none" strike="noStrike" cap="none" dirty="0">
                          <a:solidFill>
                            <a:schemeClr val="lt1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Age</a:t>
                      </a:r>
                      <a:endParaRPr sz="1600" b="1" u="none" strike="noStrike" cap="none" dirty="0">
                        <a:solidFill>
                          <a:schemeClr val="lt1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36000" marB="36000" anchor="b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b="1" u="none" strike="noStrike" cap="none" dirty="0">
                          <a:solidFill>
                            <a:schemeClr val="lt1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2019</a:t>
                      </a:r>
                      <a:endParaRPr sz="1600" b="1" u="none" strike="noStrike" cap="none" dirty="0">
                        <a:solidFill>
                          <a:schemeClr val="lt1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36000" marB="3600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b="1" u="none" strike="noStrike" cap="none" dirty="0">
                          <a:solidFill>
                            <a:schemeClr val="lt1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Q1 2020</a:t>
                      </a:r>
                      <a:endParaRPr sz="1600" b="1" u="none" strike="noStrike" cap="none" dirty="0">
                        <a:solidFill>
                          <a:schemeClr val="lt1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36000" marB="3600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en-IN" sz="1600" b="1" u="none" strike="noStrike" cap="none" dirty="0">
                          <a:solidFill>
                            <a:schemeClr val="lt1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Q3 2020</a:t>
                      </a:r>
                      <a:endParaRPr sz="1400" u="none" strike="noStrike" cap="none" dirty="0">
                        <a:latin typeface="Libre Franklin" panose="020B0604020202020204" charset="0"/>
                      </a:endParaRPr>
                    </a:p>
                  </a:txBody>
                  <a:tcPr marL="72000" marR="72000" marT="36000" marB="3600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b="1" u="none" strike="noStrike" cap="none" dirty="0">
                          <a:solidFill>
                            <a:schemeClr val="lt1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2019</a:t>
                      </a:r>
                      <a:endParaRPr sz="1600" b="1" u="none" strike="noStrike" cap="none" dirty="0">
                        <a:solidFill>
                          <a:schemeClr val="lt1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36000" marB="3600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b="1" u="none" strike="noStrike" cap="none" dirty="0">
                          <a:solidFill>
                            <a:schemeClr val="lt1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Q1 2020</a:t>
                      </a:r>
                      <a:endParaRPr sz="1600" b="1" u="none" strike="noStrike" cap="none" dirty="0">
                        <a:solidFill>
                          <a:schemeClr val="lt1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36000" marB="3600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en-IN" sz="1600" b="1" u="none" strike="noStrike" cap="none" dirty="0">
                          <a:solidFill>
                            <a:schemeClr val="lt1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Q3 2020</a:t>
                      </a:r>
                      <a:endParaRPr sz="1600" b="1" u="none" strike="noStrike" cap="none" dirty="0">
                        <a:solidFill>
                          <a:schemeClr val="lt1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36000" marB="3600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b="1" u="none" strike="noStrike" cap="none" dirty="0">
                          <a:solidFill>
                            <a:schemeClr val="lt1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2019</a:t>
                      </a:r>
                      <a:endParaRPr sz="1600" b="1" u="none" strike="noStrike" cap="none" dirty="0">
                        <a:solidFill>
                          <a:schemeClr val="lt1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36000" marB="3600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b="1" u="none" strike="noStrike" cap="none" dirty="0">
                          <a:solidFill>
                            <a:schemeClr val="lt1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Q1 2020</a:t>
                      </a:r>
                      <a:endParaRPr sz="1600" b="1" u="none" strike="noStrike" cap="none" dirty="0">
                        <a:solidFill>
                          <a:schemeClr val="lt1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36000" marB="3600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en-IN" sz="1600" b="1" u="none" strike="noStrike" cap="none" dirty="0">
                          <a:solidFill>
                            <a:schemeClr val="lt1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Q3 2020</a:t>
                      </a:r>
                      <a:endParaRPr sz="1600" b="1" u="none" strike="noStrike" cap="none" dirty="0">
                        <a:solidFill>
                          <a:schemeClr val="lt1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36000" marB="3600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b="1" u="none" strike="noStrike" cap="none" dirty="0">
                          <a:solidFill>
                            <a:schemeClr val="lt1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2019</a:t>
                      </a:r>
                      <a:endParaRPr sz="1600" b="1" u="none" strike="noStrike" cap="none" dirty="0">
                        <a:solidFill>
                          <a:schemeClr val="lt1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36000" marB="3600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b="1" u="none" strike="noStrike" cap="none" dirty="0">
                          <a:solidFill>
                            <a:schemeClr val="lt1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Q1 2020</a:t>
                      </a:r>
                      <a:endParaRPr sz="1600" b="1" u="none" strike="noStrike" cap="none" dirty="0">
                        <a:solidFill>
                          <a:schemeClr val="lt1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36000" marB="3600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600"/>
                        <a:buFont typeface="Arial"/>
                        <a:buNone/>
                      </a:pPr>
                      <a:r>
                        <a:rPr lang="en-IN" sz="1600" b="1" u="none" strike="noStrike" cap="none" dirty="0">
                          <a:solidFill>
                            <a:schemeClr val="lt1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Q3 2020</a:t>
                      </a:r>
                      <a:endParaRPr sz="1600" b="1" u="none" strike="noStrike" cap="none" dirty="0">
                        <a:solidFill>
                          <a:schemeClr val="lt1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36000" marB="36000" anchor="b">
                    <a:lnL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16-19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10.2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29.5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15.7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22.7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33.2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22.1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14.3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32.3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23.7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6.6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26.4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22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solidFill>
                        <a:schemeClr val="lt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20-24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4.8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23.0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12.6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8.2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27.9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24.4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4.7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27.9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19.4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4.7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25.6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10.6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25-54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2.6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11.2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7.1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4.5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14.2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11.7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3.6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16.3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8.8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1.9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13.9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9.6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55-older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2.6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12.6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7.0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4.8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13.4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10.9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3.5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16.8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12.1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2.0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18.9%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600"/>
                        <a:buFont typeface="Calibri"/>
                        <a:buNone/>
                      </a:pPr>
                      <a:r>
                        <a:rPr lang="en-IN" sz="1600" u="none" strike="noStrike" cap="none" dirty="0">
                          <a:solidFill>
                            <a:srgbClr val="3F3F3F"/>
                          </a:solidFill>
                          <a:latin typeface="Libre Franklin" panose="020B0604020202020204" charset="0"/>
                          <a:ea typeface="Calibri"/>
                          <a:cs typeface="Calibri"/>
                          <a:sym typeface="Calibri"/>
                        </a:rPr>
                        <a:t>11.2</a:t>
                      </a:r>
                      <a:endParaRPr sz="1600" u="none" strike="noStrike" cap="none" dirty="0">
                        <a:solidFill>
                          <a:srgbClr val="3F3F3F"/>
                        </a:solidFill>
                        <a:latin typeface="Libre Franklin" panose="020B0604020202020204" charset="0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72000" marR="72000" marT="126000" marB="126000" anchor="ctr">
                    <a:lnL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964171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F71748D-9BAC-4CD3-B8EF-1C01B0C59E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7585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1" name="think-cell Slide" r:id="rId6" imgW="353" imgH="363" progId="TCLayout.ActiveDocument.1">
                  <p:embed/>
                </p:oleObj>
              </mc:Choice>
              <mc:Fallback>
                <p:oleObj name="think-cell Slide" r:id="rId6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F71748D-9BAC-4CD3-B8EF-1C01B0C59E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3DB473B-449D-40A2-B039-9519995270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IN" sz="4800" dirty="0">
              <a:latin typeface="Libre Franklin Thin" panose="020B0604020202020204" charset="0"/>
              <a:sym typeface="Libre Franklin Thin" panose="020B0604020202020204" charset="0"/>
            </a:endParaRP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B5FA1885-FB45-4252-B4B4-F53267D1E558}"/>
              </a:ext>
            </a:extLst>
          </p:cNvPr>
          <p:cNvSpPr txBox="1">
            <a:spLocks/>
          </p:cNvSpPr>
          <p:nvPr/>
        </p:nvSpPr>
        <p:spPr>
          <a:xfrm>
            <a:off x="1972006" y="2323514"/>
            <a:ext cx="149871" cy="255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40" tIns="45720" rIns="91440" bIns="4572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en-IN" sz="1600" b="1" dirty="0">
              <a:solidFill>
                <a:schemeClr val="bg1"/>
              </a:solidFill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74A03282-4C5A-4726-BDE1-855745673924}"/>
              </a:ext>
            </a:extLst>
          </p:cNvPr>
          <p:cNvSpPr txBox="1">
            <a:spLocks/>
          </p:cNvSpPr>
          <p:nvPr/>
        </p:nvSpPr>
        <p:spPr>
          <a:xfrm>
            <a:off x="4895054" y="2323514"/>
            <a:ext cx="521008" cy="255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40" tIns="45720" rIns="91440" bIns="4572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en-IN" sz="1600" b="1" dirty="0">
              <a:solidFill>
                <a:schemeClr val="bg1"/>
              </a:solidFill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E8E5C955-410A-4571-A67D-E2695CE9EEFD}"/>
              </a:ext>
            </a:extLst>
          </p:cNvPr>
          <p:cNvSpPr/>
          <p:nvPr/>
        </p:nvSpPr>
        <p:spPr>
          <a:xfrm>
            <a:off x="1889760" y="2735580"/>
            <a:ext cx="8884920" cy="297180"/>
          </a:xfrm>
          <a:custGeom>
            <a:avLst/>
            <a:gdLst>
              <a:gd name="connsiteX0" fmla="*/ 0 w 8884920"/>
              <a:gd name="connsiteY0" fmla="*/ 38100 h 297180"/>
              <a:gd name="connsiteX1" fmla="*/ 53340 w 8884920"/>
              <a:gd name="connsiteY1" fmla="*/ 0 h 297180"/>
              <a:gd name="connsiteX2" fmla="*/ 198120 w 8884920"/>
              <a:gd name="connsiteY2" fmla="*/ 83820 h 297180"/>
              <a:gd name="connsiteX3" fmla="*/ 274320 w 8884920"/>
              <a:gd name="connsiteY3" fmla="*/ 60960 h 297180"/>
              <a:gd name="connsiteX4" fmla="*/ 365760 w 8884920"/>
              <a:gd name="connsiteY4" fmla="*/ 45720 h 297180"/>
              <a:gd name="connsiteX5" fmla="*/ 434340 w 8884920"/>
              <a:gd name="connsiteY5" fmla="*/ 68580 h 297180"/>
              <a:gd name="connsiteX6" fmla="*/ 533400 w 8884920"/>
              <a:gd name="connsiteY6" fmla="*/ 38100 h 297180"/>
              <a:gd name="connsiteX7" fmla="*/ 586740 w 8884920"/>
              <a:gd name="connsiteY7" fmla="*/ 60960 h 297180"/>
              <a:gd name="connsiteX8" fmla="*/ 708660 w 8884920"/>
              <a:gd name="connsiteY8" fmla="*/ 60960 h 297180"/>
              <a:gd name="connsiteX9" fmla="*/ 807720 w 8884920"/>
              <a:gd name="connsiteY9" fmla="*/ 91440 h 297180"/>
              <a:gd name="connsiteX10" fmla="*/ 899160 w 8884920"/>
              <a:gd name="connsiteY10" fmla="*/ 60960 h 297180"/>
              <a:gd name="connsiteX11" fmla="*/ 1059180 w 8884920"/>
              <a:gd name="connsiteY11" fmla="*/ 106680 h 297180"/>
              <a:gd name="connsiteX12" fmla="*/ 1112520 w 8884920"/>
              <a:gd name="connsiteY12" fmla="*/ 106680 h 297180"/>
              <a:gd name="connsiteX13" fmla="*/ 1181100 w 8884920"/>
              <a:gd name="connsiteY13" fmla="*/ 129540 h 297180"/>
              <a:gd name="connsiteX14" fmla="*/ 1348740 w 8884920"/>
              <a:gd name="connsiteY14" fmla="*/ 91440 h 297180"/>
              <a:gd name="connsiteX15" fmla="*/ 1432560 w 8884920"/>
              <a:gd name="connsiteY15" fmla="*/ 68580 h 297180"/>
              <a:gd name="connsiteX16" fmla="*/ 1653540 w 8884920"/>
              <a:gd name="connsiteY16" fmla="*/ 99060 h 297180"/>
              <a:gd name="connsiteX17" fmla="*/ 1775460 w 8884920"/>
              <a:gd name="connsiteY17" fmla="*/ 114300 h 297180"/>
              <a:gd name="connsiteX18" fmla="*/ 1897380 w 8884920"/>
              <a:gd name="connsiteY18" fmla="*/ 106680 h 297180"/>
              <a:gd name="connsiteX19" fmla="*/ 2004060 w 8884920"/>
              <a:gd name="connsiteY19" fmla="*/ 106680 h 297180"/>
              <a:gd name="connsiteX20" fmla="*/ 2095500 w 8884920"/>
              <a:gd name="connsiteY20" fmla="*/ 121920 h 297180"/>
              <a:gd name="connsiteX21" fmla="*/ 2255520 w 8884920"/>
              <a:gd name="connsiteY21" fmla="*/ 76200 h 297180"/>
              <a:gd name="connsiteX22" fmla="*/ 2446020 w 8884920"/>
              <a:gd name="connsiteY22" fmla="*/ 68580 h 297180"/>
              <a:gd name="connsiteX23" fmla="*/ 2506980 w 8884920"/>
              <a:gd name="connsiteY23" fmla="*/ 106680 h 297180"/>
              <a:gd name="connsiteX24" fmla="*/ 2636520 w 8884920"/>
              <a:gd name="connsiteY24" fmla="*/ 60960 h 297180"/>
              <a:gd name="connsiteX25" fmla="*/ 2804160 w 8884920"/>
              <a:gd name="connsiteY25" fmla="*/ 91440 h 297180"/>
              <a:gd name="connsiteX26" fmla="*/ 2903220 w 8884920"/>
              <a:gd name="connsiteY26" fmla="*/ 60960 h 297180"/>
              <a:gd name="connsiteX27" fmla="*/ 2994660 w 8884920"/>
              <a:gd name="connsiteY27" fmla="*/ 83820 h 297180"/>
              <a:gd name="connsiteX28" fmla="*/ 3246120 w 8884920"/>
              <a:gd name="connsiteY28" fmla="*/ 83820 h 297180"/>
              <a:gd name="connsiteX29" fmla="*/ 3291840 w 8884920"/>
              <a:gd name="connsiteY29" fmla="*/ 83820 h 297180"/>
              <a:gd name="connsiteX30" fmla="*/ 3406140 w 8884920"/>
              <a:gd name="connsiteY30" fmla="*/ 83820 h 297180"/>
              <a:gd name="connsiteX31" fmla="*/ 3581400 w 8884920"/>
              <a:gd name="connsiteY31" fmla="*/ 137160 h 297180"/>
              <a:gd name="connsiteX32" fmla="*/ 3680460 w 8884920"/>
              <a:gd name="connsiteY32" fmla="*/ 99060 h 297180"/>
              <a:gd name="connsiteX33" fmla="*/ 3733800 w 8884920"/>
              <a:gd name="connsiteY33" fmla="*/ 114300 h 297180"/>
              <a:gd name="connsiteX34" fmla="*/ 3802380 w 8884920"/>
              <a:gd name="connsiteY34" fmla="*/ 83820 h 297180"/>
              <a:gd name="connsiteX35" fmla="*/ 3893820 w 8884920"/>
              <a:gd name="connsiteY35" fmla="*/ 137160 h 297180"/>
              <a:gd name="connsiteX36" fmla="*/ 3977640 w 8884920"/>
              <a:gd name="connsiteY36" fmla="*/ 137160 h 297180"/>
              <a:gd name="connsiteX37" fmla="*/ 4023360 w 8884920"/>
              <a:gd name="connsiteY37" fmla="*/ 114300 h 297180"/>
              <a:gd name="connsiteX38" fmla="*/ 4091940 w 8884920"/>
              <a:gd name="connsiteY38" fmla="*/ 106680 h 297180"/>
              <a:gd name="connsiteX39" fmla="*/ 4152900 w 8884920"/>
              <a:gd name="connsiteY39" fmla="*/ 152400 h 297180"/>
              <a:gd name="connsiteX40" fmla="*/ 4251960 w 8884920"/>
              <a:gd name="connsiteY40" fmla="*/ 114300 h 297180"/>
              <a:gd name="connsiteX41" fmla="*/ 4328160 w 8884920"/>
              <a:gd name="connsiteY41" fmla="*/ 121920 h 297180"/>
              <a:gd name="connsiteX42" fmla="*/ 4389120 w 8884920"/>
              <a:gd name="connsiteY42" fmla="*/ 175260 h 297180"/>
              <a:gd name="connsiteX43" fmla="*/ 4442460 w 8884920"/>
              <a:gd name="connsiteY43" fmla="*/ 167640 h 297180"/>
              <a:gd name="connsiteX44" fmla="*/ 4465320 w 8884920"/>
              <a:gd name="connsiteY44" fmla="*/ 198120 h 297180"/>
              <a:gd name="connsiteX45" fmla="*/ 4564380 w 8884920"/>
              <a:gd name="connsiteY45" fmla="*/ 190500 h 297180"/>
              <a:gd name="connsiteX46" fmla="*/ 4564380 w 8884920"/>
              <a:gd name="connsiteY46" fmla="*/ 190500 h 297180"/>
              <a:gd name="connsiteX47" fmla="*/ 4716780 w 8884920"/>
              <a:gd name="connsiteY47" fmla="*/ 182880 h 297180"/>
              <a:gd name="connsiteX48" fmla="*/ 4800600 w 8884920"/>
              <a:gd name="connsiteY48" fmla="*/ 144780 h 297180"/>
              <a:gd name="connsiteX49" fmla="*/ 4846320 w 8884920"/>
              <a:gd name="connsiteY49" fmla="*/ 182880 h 297180"/>
              <a:gd name="connsiteX50" fmla="*/ 4914900 w 8884920"/>
              <a:gd name="connsiteY50" fmla="*/ 167640 h 297180"/>
              <a:gd name="connsiteX51" fmla="*/ 4983480 w 8884920"/>
              <a:gd name="connsiteY51" fmla="*/ 190500 h 297180"/>
              <a:gd name="connsiteX52" fmla="*/ 5074920 w 8884920"/>
              <a:gd name="connsiteY52" fmla="*/ 160020 h 297180"/>
              <a:gd name="connsiteX53" fmla="*/ 5143500 w 8884920"/>
              <a:gd name="connsiteY53" fmla="*/ 182880 h 297180"/>
              <a:gd name="connsiteX54" fmla="*/ 5257800 w 8884920"/>
              <a:gd name="connsiteY54" fmla="*/ 190500 h 297180"/>
              <a:gd name="connsiteX55" fmla="*/ 5326380 w 8884920"/>
              <a:gd name="connsiteY55" fmla="*/ 205740 h 297180"/>
              <a:gd name="connsiteX56" fmla="*/ 5387340 w 8884920"/>
              <a:gd name="connsiteY56" fmla="*/ 182880 h 297180"/>
              <a:gd name="connsiteX57" fmla="*/ 5417820 w 8884920"/>
              <a:gd name="connsiteY57" fmla="*/ 228600 h 297180"/>
              <a:gd name="connsiteX58" fmla="*/ 5486400 w 8884920"/>
              <a:gd name="connsiteY58" fmla="*/ 205740 h 297180"/>
              <a:gd name="connsiteX59" fmla="*/ 5562600 w 8884920"/>
              <a:gd name="connsiteY59" fmla="*/ 182880 h 297180"/>
              <a:gd name="connsiteX60" fmla="*/ 5661660 w 8884920"/>
              <a:gd name="connsiteY60" fmla="*/ 205740 h 297180"/>
              <a:gd name="connsiteX61" fmla="*/ 5715000 w 8884920"/>
              <a:gd name="connsiteY61" fmla="*/ 205740 h 297180"/>
              <a:gd name="connsiteX62" fmla="*/ 5836920 w 8884920"/>
              <a:gd name="connsiteY62" fmla="*/ 198120 h 297180"/>
              <a:gd name="connsiteX63" fmla="*/ 5875020 w 8884920"/>
              <a:gd name="connsiteY63" fmla="*/ 205740 h 297180"/>
              <a:gd name="connsiteX64" fmla="*/ 5996940 w 8884920"/>
              <a:gd name="connsiteY64" fmla="*/ 160020 h 297180"/>
              <a:gd name="connsiteX65" fmla="*/ 6050280 w 8884920"/>
              <a:gd name="connsiteY65" fmla="*/ 190500 h 297180"/>
              <a:gd name="connsiteX66" fmla="*/ 6141720 w 8884920"/>
              <a:gd name="connsiteY66" fmla="*/ 175260 h 297180"/>
              <a:gd name="connsiteX67" fmla="*/ 6172200 w 8884920"/>
              <a:gd name="connsiteY67" fmla="*/ 182880 h 297180"/>
              <a:gd name="connsiteX68" fmla="*/ 6225540 w 8884920"/>
              <a:gd name="connsiteY68" fmla="*/ 182880 h 297180"/>
              <a:gd name="connsiteX69" fmla="*/ 6301740 w 8884920"/>
              <a:gd name="connsiteY69" fmla="*/ 190500 h 297180"/>
              <a:gd name="connsiteX70" fmla="*/ 6416040 w 8884920"/>
              <a:gd name="connsiteY70" fmla="*/ 175260 h 297180"/>
              <a:gd name="connsiteX71" fmla="*/ 6507480 w 8884920"/>
              <a:gd name="connsiteY71" fmla="*/ 228600 h 297180"/>
              <a:gd name="connsiteX72" fmla="*/ 6614160 w 8884920"/>
              <a:gd name="connsiteY72" fmla="*/ 220980 h 297180"/>
              <a:gd name="connsiteX73" fmla="*/ 6736080 w 8884920"/>
              <a:gd name="connsiteY73" fmla="*/ 175260 h 297180"/>
              <a:gd name="connsiteX74" fmla="*/ 6804660 w 8884920"/>
              <a:gd name="connsiteY74" fmla="*/ 205740 h 297180"/>
              <a:gd name="connsiteX75" fmla="*/ 6941820 w 8884920"/>
              <a:gd name="connsiteY75" fmla="*/ 190500 h 297180"/>
              <a:gd name="connsiteX76" fmla="*/ 7063740 w 8884920"/>
              <a:gd name="connsiteY76" fmla="*/ 228600 h 297180"/>
              <a:gd name="connsiteX77" fmla="*/ 7208520 w 8884920"/>
              <a:gd name="connsiteY77" fmla="*/ 160020 h 297180"/>
              <a:gd name="connsiteX78" fmla="*/ 7292340 w 8884920"/>
              <a:gd name="connsiteY78" fmla="*/ 198120 h 297180"/>
              <a:gd name="connsiteX79" fmla="*/ 7345680 w 8884920"/>
              <a:gd name="connsiteY79" fmla="*/ 175260 h 297180"/>
              <a:gd name="connsiteX80" fmla="*/ 7368540 w 8884920"/>
              <a:gd name="connsiteY80" fmla="*/ 205740 h 297180"/>
              <a:gd name="connsiteX81" fmla="*/ 7406640 w 8884920"/>
              <a:gd name="connsiteY81" fmla="*/ 190500 h 297180"/>
              <a:gd name="connsiteX82" fmla="*/ 7452360 w 8884920"/>
              <a:gd name="connsiteY82" fmla="*/ 213360 h 297180"/>
              <a:gd name="connsiteX83" fmla="*/ 7597140 w 8884920"/>
              <a:gd name="connsiteY83" fmla="*/ 175260 h 297180"/>
              <a:gd name="connsiteX84" fmla="*/ 7642860 w 8884920"/>
              <a:gd name="connsiteY84" fmla="*/ 205740 h 297180"/>
              <a:gd name="connsiteX85" fmla="*/ 7673340 w 8884920"/>
              <a:gd name="connsiteY85" fmla="*/ 160020 h 297180"/>
              <a:gd name="connsiteX86" fmla="*/ 7772400 w 8884920"/>
              <a:gd name="connsiteY86" fmla="*/ 144780 h 297180"/>
              <a:gd name="connsiteX87" fmla="*/ 7833360 w 8884920"/>
              <a:gd name="connsiteY87" fmla="*/ 198120 h 297180"/>
              <a:gd name="connsiteX88" fmla="*/ 7985760 w 8884920"/>
              <a:gd name="connsiteY88" fmla="*/ 137160 h 297180"/>
              <a:gd name="connsiteX89" fmla="*/ 8023860 w 8884920"/>
              <a:gd name="connsiteY89" fmla="*/ 182880 h 297180"/>
              <a:gd name="connsiteX90" fmla="*/ 8069580 w 8884920"/>
              <a:gd name="connsiteY90" fmla="*/ 144780 h 297180"/>
              <a:gd name="connsiteX91" fmla="*/ 8122920 w 8884920"/>
              <a:gd name="connsiteY91" fmla="*/ 182880 h 297180"/>
              <a:gd name="connsiteX92" fmla="*/ 8359140 w 8884920"/>
              <a:gd name="connsiteY92" fmla="*/ 129540 h 297180"/>
              <a:gd name="connsiteX93" fmla="*/ 8412480 w 8884920"/>
              <a:gd name="connsiteY93" fmla="*/ 152400 h 297180"/>
              <a:gd name="connsiteX94" fmla="*/ 8503920 w 8884920"/>
              <a:gd name="connsiteY94" fmla="*/ 114300 h 297180"/>
              <a:gd name="connsiteX95" fmla="*/ 8549640 w 8884920"/>
              <a:gd name="connsiteY95" fmla="*/ 297180 h 297180"/>
              <a:gd name="connsiteX96" fmla="*/ 8648700 w 8884920"/>
              <a:gd name="connsiteY96" fmla="*/ 205740 h 297180"/>
              <a:gd name="connsiteX97" fmla="*/ 8702040 w 8884920"/>
              <a:gd name="connsiteY97" fmla="*/ 274320 h 297180"/>
              <a:gd name="connsiteX98" fmla="*/ 8717280 w 8884920"/>
              <a:gd name="connsiteY98" fmla="*/ 213360 h 297180"/>
              <a:gd name="connsiteX99" fmla="*/ 8724900 w 8884920"/>
              <a:gd name="connsiteY99" fmla="*/ 228600 h 297180"/>
              <a:gd name="connsiteX100" fmla="*/ 8808720 w 8884920"/>
              <a:gd name="connsiteY100" fmla="*/ 205740 h 297180"/>
              <a:gd name="connsiteX101" fmla="*/ 8884920 w 8884920"/>
              <a:gd name="connsiteY101" fmla="*/ 236220 h 297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8884920" h="297180">
                <a:moveTo>
                  <a:pt x="0" y="38100"/>
                </a:moveTo>
                <a:lnTo>
                  <a:pt x="53340" y="0"/>
                </a:lnTo>
                <a:lnTo>
                  <a:pt x="198120" y="83820"/>
                </a:lnTo>
                <a:lnTo>
                  <a:pt x="274320" y="60960"/>
                </a:lnTo>
                <a:lnTo>
                  <a:pt x="365760" y="45720"/>
                </a:lnTo>
                <a:lnTo>
                  <a:pt x="434340" y="68580"/>
                </a:lnTo>
                <a:lnTo>
                  <a:pt x="533400" y="38100"/>
                </a:lnTo>
                <a:lnTo>
                  <a:pt x="586740" y="60960"/>
                </a:lnTo>
                <a:lnTo>
                  <a:pt x="708660" y="60960"/>
                </a:lnTo>
                <a:lnTo>
                  <a:pt x="807720" y="91440"/>
                </a:lnTo>
                <a:lnTo>
                  <a:pt x="899160" y="60960"/>
                </a:lnTo>
                <a:lnTo>
                  <a:pt x="1059180" y="106680"/>
                </a:lnTo>
                <a:lnTo>
                  <a:pt x="1112520" y="106680"/>
                </a:lnTo>
                <a:lnTo>
                  <a:pt x="1181100" y="129540"/>
                </a:lnTo>
                <a:lnTo>
                  <a:pt x="1348740" y="91440"/>
                </a:lnTo>
                <a:lnTo>
                  <a:pt x="1432560" y="68580"/>
                </a:lnTo>
                <a:lnTo>
                  <a:pt x="1653540" y="99060"/>
                </a:lnTo>
                <a:lnTo>
                  <a:pt x="1775460" y="114300"/>
                </a:lnTo>
                <a:lnTo>
                  <a:pt x="1897380" y="106680"/>
                </a:lnTo>
                <a:lnTo>
                  <a:pt x="2004060" y="106680"/>
                </a:lnTo>
                <a:lnTo>
                  <a:pt x="2095500" y="121920"/>
                </a:lnTo>
                <a:lnTo>
                  <a:pt x="2255520" y="76200"/>
                </a:lnTo>
                <a:lnTo>
                  <a:pt x="2446020" y="68580"/>
                </a:lnTo>
                <a:lnTo>
                  <a:pt x="2506980" y="106680"/>
                </a:lnTo>
                <a:lnTo>
                  <a:pt x="2636520" y="60960"/>
                </a:lnTo>
                <a:lnTo>
                  <a:pt x="2804160" y="91440"/>
                </a:lnTo>
                <a:lnTo>
                  <a:pt x="2903220" y="60960"/>
                </a:lnTo>
                <a:lnTo>
                  <a:pt x="2994660" y="83820"/>
                </a:lnTo>
                <a:lnTo>
                  <a:pt x="3246120" y="83820"/>
                </a:lnTo>
                <a:lnTo>
                  <a:pt x="3291840" y="83820"/>
                </a:lnTo>
                <a:lnTo>
                  <a:pt x="3406140" y="83820"/>
                </a:lnTo>
                <a:lnTo>
                  <a:pt x="3581400" y="137160"/>
                </a:lnTo>
                <a:lnTo>
                  <a:pt x="3680460" y="99060"/>
                </a:lnTo>
                <a:lnTo>
                  <a:pt x="3733800" y="114300"/>
                </a:lnTo>
                <a:lnTo>
                  <a:pt x="3802380" y="83820"/>
                </a:lnTo>
                <a:lnTo>
                  <a:pt x="3893820" y="137160"/>
                </a:lnTo>
                <a:lnTo>
                  <a:pt x="3977640" y="137160"/>
                </a:lnTo>
                <a:lnTo>
                  <a:pt x="4023360" y="114300"/>
                </a:lnTo>
                <a:lnTo>
                  <a:pt x="4091940" y="106680"/>
                </a:lnTo>
                <a:lnTo>
                  <a:pt x="4152900" y="152400"/>
                </a:lnTo>
                <a:lnTo>
                  <a:pt x="4251960" y="114300"/>
                </a:lnTo>
                <a:lnTo>
                  <a:pt x="4328160" y="121920"/>
                </a:lnTo>
                <a:lnTo>
                  <a:pt x="4389120" y="175260"/>
                </a:lnTo>
                <a:lnTo>
                  <a:pt x="4442460" y="167640"/>
                </a:lnTo>
                <a:lnTo>
                  <a:pt x="4465320" y="198120"/>
                </a:lnTo>
                <a:lnTo>
                  <a:pt x="4564380" y="190500"/>
                </a:lnTo>
                <a:lnTo>
                  <a:pt x="4564380" y="190500"/>
                </a:lnTo>
                <a:lnTo>
                  <a:pt x="4716780" y="182880"/>
                </a:lnTo>
                <a:lnTo>
                  <a:pt x="4800600" y="144780"/>
                </a:lnTo>
                <a:lnTo>
                  <a:pt x="4846320" y="182880"/>
                </a:lnTo>
                <a:lnTo>
                  <a:pt x="4914900" y="167640"/>
                </a:lnTo>
                <a:lnTo>
                  <a:pt x="4983480" y="190500"/>
                </a:lnTo>
                <a:lnTo>
                  <a:pt x="5074920" y="160020"/>
                </a:lnTo>
                <a:lnTo>
                  <a:pt x="5143500" y="182880"/>
                </a:lnTo>
                <a:lnTo>
                  <a:pt x="5257800" y="190500"/>
                </a:lnTo>
                <a:lnTo>
                  <a:pt x="5326380" y="205740"/>
                </a:lnTo>
                <a:lnTo>
                  <a:pt x="5387340" y="182880"/>
                </a:lnTo>
                <a:lnTo>
                  <a:pt x="5417820" y="228600"/>
                </a:lnTo>
                <a:lnTo>
                  <a:pt x="5486400" y="205740"/>
                </a:lnTo>
                <a:lnTo>
                  <a:pt x="5562600" y="182880"/>
                </a:lnTo>
                <a:lnTo>
                  <a:pt x="5661660" y="205740"/>
                </a:lnTo>
                <a:lnTo>
                  <a:pt x="5715000" y="205740"/>
                </a:lnTo>
                <a:lnTo>
                  <a:pt x="5836920" y="198120"/>
                </a:lnTo>
                <a:lnTo>
                  <a:pt x="5875020" y="205740"/>
                </a:lnTo>
                <a:lnTo>
                  <a:pt x="5996940" y="160020"/>
                </a:lnTo>
                <a:lnTo>
                  <a:pt x="6050280" y="190500"/>
                </a:lnTo>
                <a:lnTo>
                  <a:pt x="6141720" y="175260"/>
                </a:lnTo>
                <a:lnTo>
                  <a:pt x="6172200" y="182880"/>
                </a:lnTo>
                <a:lnTo>
                  <a:pt x="6225540" y="182880"/>
                </a:lnTo>
                <a:lnTo>
                  <a:pt x="6301740" y="190500"/>
                </a:lnTo>
                <a:lnTo>
                  <a:pt x="6416040" y="175260"/>
                </a:lnTo>
                <a:lnTo>
                  <a:pt x="6507480" y="228600"/>
                </a:lnTo>
                <a:lnTo>
                  <a:pt x="6614160" y="220980"/>
                </a:lnTo>
                <a:lnTo>
                  <a:pt x="6736080" y="175260"/>
                </a:lnTo>
                <a:lnTo>
                  <a:pt x="6804660" y="205740"/>
                </a:lnTo>
                <a:lnTo>
                  <a:pt x="6941820" y="190500"/>
                </a:lnTo>
                <a:lnTo>
                  <a:pt x="7063740" y="228600"/>
                </a:lnTo>
                <a:lnTo>
                  <a:pt x="7208520" y="160020"/>
                </a:lnTo>
                <a:lnTo>
                  <a:pt x="7292340" y="198120"/>
                </a:lnTo>
                <a:lnTo>
                  <a:pt x="7345680" y="175260"/>
                </a:lnTo>
                <a:lnTo>
                  <a:pt x="7368540" y="205740"/>
                </a:lnTo>
                <a:lnTo>
                  <a:pt x="7406640" y="190500"/>
                </a:lnTo>
                <a:lnTo>
                  <a:pt x="7452360" y="213360"/>
                </a:lnTo>
                <a:lnTo>
                  <a:pt x="7597140" y="175260"/>
                </a:lnTo>
                <a:lnTo>
                  <a:pt x="7642860" y="205740"/>
                </a:lnTo>
                <a:lnTo>
                  <a:pt x="7673340" y="160020"/>
                </a:lnTo>
                <a:lnTo>
                  <a:pt x="7772400" y="144780"/>
                </a:lnTo>
                <a:lnTo>
                  <a:pt x="7833360" y="198120"/>
                </a:lnTo>
                <a:lnTo>
                  <a:pt x="7985760" y="137160"/>
                </a:lnTo>
                <a:lnTo>
                  <a:pt x="8023860" y="182880"/>
                </a:lnTo>
                <a:lnTo>
                  <a:pt x="8069580" y="144780"/>
                </a:lnTo>
                <a:lnTo>
                  <a:pt x="8122920" y="182880"/>
                </a:lnTo>
                <a:lnTo>
                  <a:pt x="8359140" y="129540"/>
                </a:lnTo>
                <a:lnTo>
                  <a:pt x="8412480" y="152400"/>
                </a:lnTo>
                <a:lnTo>
                  <a:pt x="8503920" y="114300"/>
                </a:lnTo>
                <a:lnTo>
                  <a:pt x="8549640" y="297180"/>
                </a:lnTo>
                <a:lnTo>
                  <a:pt x="8648700" y="205740"/>
                </a:lnTo>
                <a:lnTo>
                  <a:pt x="8702040" y="274320"/>
                </a:lnTo>
                <a:lnTo>
                  <a:pt x="8717280" y="213360"/>
                </a:lnTo>
                <a:lnTo>
                  <a:pt x="8724900" y="228600"/>
                </a:lnTo>
                <a:lnTo>
                  <a:pt x="8808720" y="205740"/>
                </a:lnTo>
                <a:lnTo>
                  <a:pt x="8884920" y="236220"/>
                </a:lnTo>
              </a:path>
            </a:pathLst>
          </a:custGeom>
          <a:ln w="28575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5B305663-5D10-4322-A158-94048D2756F9}"/>
              </a:ext>
            </a:extLst>
          </p:cNvPr>
          <p:cNvSpPr/>
          <p:nvPr/>
        </p:nvSpPr>
        <p:spPr>
          <a:xfrm>
            <a:off x="1897380" y="2849880"/>
            <a:ext cx="8862060" cy="289560"/>
          </a:xfrm>
          <a:custGeom>
            <a:avLst/>
            <a:gdLst>
              <a:gd name="connsiteX0" fmla="*/ 0 w 8862060"/>
              <a:gd name="connsiteY0" fmla="*/ 15240 h 289560"/>
              <a:gd name="connsiteX1" fmla="*/ 137160 w 8862060"/>
              <a:gd name="connsiteY1" fmla="*/ 45720 h 289560"/>
              <a:gd name="connsiteX2" fmla="*/ 228600 w 8862060"/>
              <a:gd name="connsiteY2" fmla="*/ 30480 h 289560"/>
              <a:gd name="connsiteX3" fmla="*/ 251460 w 8862060"/>
              <a:gd name="connsiteY3" fmla="*/ 68580 h 289560"/>
              <a:gd name="connsiteX4" fmla="*/ 381000 w 8862060"/>
              <a:gd name="connsiteY4" fmla="*/ 38100 h 289560"/>
              <a:gd name="connsiteX5" fmla="*/ 426720 w 8862060"/>
              <a:gd name="connsiteY5" fmla="*/ 60960 h 289560"/>
              <a:gd name="connsiteX6" fmla="*/ 457200 w 8862060"/>
              <a:gd name="connsiteY6" fmla="*/ 45720 h 289560"/>
              <a:gd name="connsiteX7" fmla="*/ 533400 w 8862060"/>
              <a:gd name="connsiteY7" fmla="*/ 68580 h 289560"/>
              <a:gd name="connsiteX8" fmla="*/ 594360 w 8862060"/>
              <a:gd name="connsiteY8" fmla="*/ 38100 h 289560"/>
              <a:gd name="connsiteX9" fmla="*/ 655320 w 8862060"/>
              <a:gd name="connsiteY9" fmla="*/ 60960 h 289560"/>
              <a:gd name="connsiteX10" fmla="*/ 723900 w 8862060"/>
              <a:gd name="connsiteY10" fmla="*/ 45720 h 289560"/>
              <a:gd name="connsiteX11" fmla="*/ 845820 w 8862060"/>
              <a:gd name="connsiteY11" fmla="*/ 60960 h 289560"/>
              <a:gd name="connsiteX12" fmla="*/ 891540 w 8862060"/>
              <a:gd name="connsiteY12" fmla="*/ 38100 h 289560"/>
              <a:gd name="connsiteX13" fmla="*/ 960120 w 8862060"/>
              <a:gd name="connsiteY13" fmla="*/ 53340 h 289560"/>
              <a:gd name="connsiteX14" fmla="*/ 1051560 w 8862060"/>
              <a:gd name="connsiteY14" fmla="*/ 60960 h 289560"/>
              <a:gd name="connsiteX15" fmla="*/ 1074420 w 8862060"/>
              <a:gd name="connsiteY15" fmla="*/ 99060 h 289560"/>
              <a:gd name="connsiteX16" fmla="*/ 1158240 w 8862060"/>
              <a:gd name="connsiteY16" fmla="*/ 68580 h 289560"/>
              <a:gd name="connsiteX17" fmla="*/ 1242060 w 8862060"/>
              <a:gd name="connsiteY17" fmla="*/ 99060 h 289560"/>
              <a:gd name="connsiteX18" fmla="*/ 1318260 w 8862060"/>
              <a:gd name="connsiteY18" fmla="*/ 38100 h 289560"/>
              <a:gd name="connsiteX19" fmla="*/ 1386840 w 8862060"/>
              <a:gd name="connsiteY19" fmla="*/ 99060 h 289560"/>
              <a:gd name="connsiteX20" fmla="*/ 1447800 w 8862060"/>
              <a:gd name="connsiteY20" fmla="*/ 76200 h 289560"/>
              <a:gd name="connsiteX21" fmla="*/ 1493520 w 8862060"/>
              <a:gd name="connsiteY21" fmla="*/ 114300 h 289560"/>
              <a:gd name="connsiteX22" fmla="*/ 1577340 w 8862060"/>
              <a:gd name="connsiteY22" fmla="*/ 106680 h 289560"/>
              <a:gd name="connsiteX23" fmla="*/ 1661160 w 8862060"/>
              <a:gd name="connsiteY23" fmla="*/ 76200 h 289560"/>
              <a:gd name="connsiteX24" fmla="*/ 1699260 w 8862060"/>
              <a:gd name="connsiteY24" fmla="*/ 60960 h 289560"/>
              <a:gd name="connsiteX25" fmla="*/ 1737360 w 8862060"/>
              <a:gd name="connsiteY25" fmla="*/ 68580 h 289560"/>
              <a:gd name="connsiteX26" fmla="*/ 1805940 w 8862060"/>
              <a:gd name="connsiteY26" fmla="*/ 83820 h 289560"/>
              <a:gd name="connsiteX27" fmla="*/ 1836420 w 8862060"/>
              <a:gd name="connsiteY27" fmla="*/ 91440 h 289560"/>
              <a:gd name="connsiteX28" fmla="*/ 1889760 w 8862060"/>
              <a:gd name="connsiteY28" fmla="*/ 91440 h 289560"/>
              <a:gd name="connsiteX29" fmla="*/ 1943100 w 8862060"/>
              <a:gd name="connsiteY29" fmla="*/ 114300 h 289560"/>
              <a:gd name="connsiteX30" fmla="*/ 2019300 w 8862060"/>
              <a:gd name="connsiteY30" fmla="*/ 60960 h 289560"/>
              <a:gd name="connsiteX31" fmla="*/ 2080260 w 8862060"/>
              <a:gd name="connsiteY31" fmla="*/ 60960 h 289560"/>
              <a:gd name="connsiteX32" fmla="*/ 2125980 w 8862060"/>
              <a:gd name="connsiteY32" fmla="*/ 45720 h 289560"/>
              <a:gd name="connsiteX33" fmla="*/ 2171700 w 8862060"/>
              <a:gd name="connsiteY33" fmla="*/ 76200 h 289560"/>
              <a:gd name="connsiteX34" fmla="*/ 2278380 w 8862060"/>
              <a:gd name="connsiteY34" fmla="*/ 68580 h 289560"/>
              <a:gd name="connsiteX35" fmla="*/ 2339340 w 8862060"/>
              <a:gd name="connsiteY35" fmla="*/ 60960 h 289560"/>
              <a:gd name="connsiteX36" fmla="*/ 2438400 w 8862060"/>
              <a:gd name="connsiteY36" fmla="*/ 99060 h 289560"/>
              <a:gd name="connsiteX37" fmla="*/ 2529840 w 8862060"/>
              <a:gd name="connsiteY37" fmla="*/ 38100 h 289560"/>
              <a:gd name="connsiteX38" fmla="*/ 2590800 w 8862060"/>
              <a:gd name="connsiteY38" fmla="*/ 76200 h 289560"/>
              <a:gd name="connsiteX39" fmla="*/ 2697480 w 8862060"/>
              <a:gd name="connsiteY39" fmla="*/ 76200 h 289560"/>
              <a:gd name="connsiteX40" fmla="*/ 2773680 w 8862060"/>
              <a:gd name="connsiteY40" fmla="*/ 76200 h 289560"/>
              <a:gd name="connsiteX41" fmla="*/ 2903220 w 8862060"/>
              <a:gd name="connsiteY41" fmla="*/ 22860 h 289560"/>
              <a:gd name="connsiteX42" fmla="*/ 2964180 w 8862060"/>
              <a:gd name="connsiteY42" fmla="*/ 76200 h 289560"/>
              <a:gd name="connsiteX43" fmla="*/ 3040380 w 8862060"/>
              <a:gd name="connsiteY43" fmla="*/ 7620 h 289560"/>
              <a:gd name="connsiteX44" fmla="*/ 3086100 w 8862060"/>
              <a:gd name="connsiteY44" fmla="*/ 53340 h 289560"/>
              <a:gd name="connsiteX45" fmla="*/ 3223260 w 8862060"/>
              <a:gd name="connsiteY45" fmla="*/ 15240 h 289560"/>
              <a:gd name="connsiteX46" fmla="*/ 3246120 w 8862060"/>
              <a:gd name="connsiteY46" fmla="*/ 0 h 289560"/>
              <a:gd name="connsiteX47" fmla="*/ 3291840 w 8862060"/>
              <a:gd name="connsiteY47" fmla="*/ 53340 h 289560"/>
              <a:gd name="connsiteX48" fmla="*/ 3398520 w 8862060"/>
              <a:gd name="connsiteY48" fmla="*/ 38100 h 289560"/>
              <a:gd name="connsiteX49" fmla="*/ 3451860 w 8862060"/>
              <a:gd name="connsiteY49" fmla="*/ 91440 h 289560"/>
              <a:gd name="connsiteX50" fmla="*/ 3558540 w 8862060"/>
              <a:gd name="connsiteY50" fmla="*/ 99060 h 289560"/>
              <a:gd name="connsiteX51" fmla="*/ 3634740 w 8862060"/>
              <a:gd name="connsiteY51" fmla="*/ 99060 h 289560"/>
              <a:gd name="connsiteX52" fmla="*/ 3695700 w 8862060"/>
              <a:gd name="connsiteY52" fmla="*/ 83820 h 289560"/>
              <a:gd name="connsiteX53" fmla="*/ 3779520 w 8862060"/>
              <a:gd name="connsiteY53" fmla="*/ 30480 h 289560"/>
              <a:gd name="connsiteX54" fmla="*/ 3863340 w 8862060"/>
              <a:gd name="connsiteY54" fmla="*/ 83820 h 289560"/>
              <a:gd name="connsiteX55" fmla="*/ 3977640 w 8862060"/>
              <a:gd name="connsiteY55" fmla="*/ 121920 h 289560"/>
              <a:gd name="connsiteX56" fmla="*/ 4000500 w 8862060"/>
              <a:gd name="connsiteY56" fmla="*/ 160020 h 289560"/>
              <a:gd name="connsiteX57" fmla="*/ 4091940 w 8862060"/>
              <a:gd name="connsiteY57" fmla="*/ 121920 h 289560"/>
              <a:gd name="connsiteX58" fmla="*/ 4122420 w 8862060"/>
              <a:gd name="connsiteY58" fmla="*/ 76200 h 289560"/>
              <a:gd name="connsiteX59" fmla="*/ 4229100 w 8862060"/>
              <a:gd name="connsiteY59" fmla="*/ 137160 h 289560"/>
              <a:gd name="connsiteX60" fmla="*/ 4267200 w 8862060"/>
              <a:gd name="connsiteY60" fmla="*/ 114300 h 289560"/>
              <a:gd name="connsiteX61" fmla="*/ 4282440 w 8862060"/>
              <a:gd name="connsiteY61" fmla="*/ 144780 h 289560"/>
              <a:gd name="connsiteX62" fmla="*/ 4351020 w 8862060"/>
              <a:gd name="connsiteY62" fmla="*/ 114300 h 289560"/>
              <a:gd name="connsiteX63" fmla="*/ 4381500 w 8862060"/>
              <a:gd name="connsiteY63" fmla="*/ 144780 h 289560"/>
              <a:gd name="connsiteX64" fmla="*/ 4434840 w 8862060"/>
              <a:gd name="connsiteY64" fmla="*/ 144780 h 289560"/>
              <a:gd name="connsiteX65" fmla="*/ 4495800 w 8862060"/>
              <a:gd name="connsiteY65" fmla="*/ 106680 h 289560"/>
              <a:gd name="connsiteX66" fmla="*/ 4541520 w 8862060"/>
              <a:gd name="connsiteY66" fmla="*/ 167640 h 289560"/>
              <a:gd name="connsiteX67" fmla="*/ 4572000 w 8862060"/>
              <a:gd name="connsiteY67" fmla="*/ 121920 h 289560"/>
              <a:gd name="connsiteX68" fmla="*/ 4686300 w 8862060"/>
              <a:gd name="connsiteY68" fmla="*/ 160020 h 289560"/>
              <a:gd name="connsiteX69" fmla="*/ 4686300 w 8862060"/>
              <a:gd name="connsiteY69" fmla="*/ 175260 h 289560"/>
              <a:gd name="connsiteX70" fmla="*/ 4739640 w 8862060"/>
              <a:gd name="connsiteY70" fmla="*/ 137160 h 289560"/>
              <a:gd name="connsiteX71" fmla="*/ 4762500 w 8862060"/>
              <a:gd name="connsiteY71" fmla="*/ 137160 h 289560"/>
              <a:gd name="connsiteX72" fmla="*/ 4815840 w 8862060"/>
              <a:gd name="connsiteY72" fmla="*/ 144780 h 289560"/>
              <a:gd name="connsiteX73" fmla="*/ 4876800 w 8862060"/>
              <a:gd name="connsiteY73" fmla="*/ 182880 h 289560"/>
              <a:gd name="connsiteX74" fmla="*/ 4907280 w 8862060"/>
              <a:gd name="connsiteY74" fmla="*/ 213360 h 289560"/>
              <a:gd name="connsiteX75" fmla="*/ 4968240 w 8862060"/>
              <a:gd name="connsiteY75" fmla="*/ 205740 h 289560"/>
              <a:gd name="connsiteX76" fmla="*/ 4968240 w 8862060"/>
              <a:gd name="connsiteY76" fmla="*/ 220980 h 289560"/>
              <a:gd name="connsiteX77" fmla="*/ 5067300 w 8862060"/>
              <a:gd name="connsiteY77" fmla="*/ 175260 h 289560"/>
              <a:gd name="connsiteX78" fmla="*/ 5105400 w 8862060"/>
              <a:gd name="connsiteY78" fmla="*/ 160020 h 289560"/>
              <a:gd name="connsiteX79" fmla="*/ 5105400 w 8862060"/>
              <a:gd name="connsiteY79" fmla="*/ 160020 h 289560"/>
              <a:gd name="connsiteX80" fmla="*/ 5196840 w 8862060"/>
              <a:gd name="connsiteY80" fmla="*/ 190500 h 289560"/>
              <a:gd name="connsiteX81" fmla="*/ 5288280 w 8862060"/>
              <a:gd name="connsiteY81" fmla="*/ 114300 h 289560"/>
              <a:gd name="connsiteX82" fmla="*/ 5356860 w 8862060"/>
              <a:gd name="connsiteY82" fmla="*/ 137160 h 289560"/>
              <a:gd name="connsiteX83" fmla="*/ 5433060 w 8862060"/>
              <a:gd name="connsiteY83" fmla="*/ 160020 h 289560"/>
              <a:gd name="connsiteX84" fmla="*/ 5455920 w 8862060"/>
              <a:gd name="connsiteY84" fmla="*/ 205740 h 289560"/>
              <a:gd name="connsiteX85" fmla="*/ 5509260 w 8862060"/>
              <a:gd name="connsiteY85" fmla="*/ 106680 h 289560"/>
              <a:gd name="connsiteX86" fmla="*/ 5562600 w 8862060"/>
              <a:gd name="connsiteY86" fmla="*/ 137160 h 289560"/>
              <a:gd name="connsiteX87" fmla="*/ 5638800 w 8862060"/>
              <a:gd name="connsiteY87" fmla="*/ 99060 h 289560"/>
              <a:gd name="connsiteX88" fmla="*/ 5646420 w 8862060"/>
              <a:gd name="connsiteY88" fmla="*/ 152400 h 289560"/>
              <a:gd name="connsiteX89" fmla="*/ 5730240 w 8862060"/>
              <a:gd name="connsiteY89" fmla="*/ 152400 h 289560"/>
              <a:gd name="connsiteX90" fmla="*/ 5760720 w 8862060"/>
              <a:gd name="connsiteY90" fmla="*/ 160020 h 289560"/>
              <a:gd name="connsiteX91" fmla="*/ 5829300 w 8862060"/>
              <a:gd name="connsiteY91" fmla="*/ 160020 h 289560"/>
              <a:gd name="connsiteX92" fmla="*/ 5928360 w 8862060"/>
              <a:gd name="connsiteY92" fmla="*/ 175260 h 289560"/>
              <a:gd name="connsiteX93" fmla="*/ 5974080 w 8862060"/>
              <a:gd name="connsiteY93" fmla="*/ 205740 h 289560"/>
              <a:gd name="connsiteX94" fmla="*/ 6065520 w 8862060"/>
              <a:gd name="connsiteY94" fmla="*/ 175260 h 289560"/>
              <a:gd name="connsiteX95" fmla="*/ 6088380 w 8862060"/>
              <a:gd name="connsiteY95" fmla="*/ 175260 h 289560"/>
              <a:gd name="connsiteX96" fmla="*/ 6134100 w 8862060"/>
              <a:gd name="connsiteY96" fmla="*/ 213360 h 289560"/>
              <a:gd name="connsiteX97" fmla="*/ 6202680 w 8862060"/>
              <a:gd name="connsiteY97" fmla="*/ 213360 h 289560"/>
              <a:gd name="connsiteX98" fmla="*/ 6286500 w 8862060"/>
              <a:gd name="connsiteY98" fmla="*/ 220980 h 289560"/>
              <a:gd name="connsiteX99" fmla="*/ 6355080 w 8862060"/>
              <a:gd name="connsiteY99" fmla="*/ 190500 h 289560"/>
              <a:gd name="connsiteX100" fmla="*/ 6385560 w 8862060"/>
              <a:gd name="connsiteY100" fmla="*/ 213360 h 289560"/>
              <a:gd name="connsiteX101" fmla="*/ 6484620 w 8862060"/>
              <a:gd name="connsiteY101" fmla="*/ 228600 h 289560"/>
              <a:gd name="connsiteX102" fmla="*/ 6522720 w 8862060"/>
              <a:gd name="connsiteY102" fmla="*/ 243840 h 289560"/>
              <a:gd name="connsiteX103" fmla="*/ 6583680 w 8862060"/>
              <a:gd name="connsiteY103" fmla="*/ 198120 h 289560"/>
              <a:gd name="connsiteX104" fmla="*/ 6659880 w 8862060"/>
              <a:gd name="connsiteY104" fmla="*/ 236220 h 289560"/>
              <a:gd name="connsiteX105" fmla="*/ 6713220 w 8862060"/>
              <a:gd name="connsiteY105" fmla="*/ 190500 h 289560"/>
              <a:gd name="connsiteX106" fmla="*/ 6758940 w 8862060"/>
              <a:gd name="connsiteY106" fmla="*/ 167640 h 289560"/>
              <a:gd name="connsiteX107" fmla="*/ 6758940 w 8862060"/>
              <a:gd name="connsiteY107" fmla="*/ 167640 h 289560"/>
              <a:gd name="connsiteX108" fmla="*/ 6865620 w 8862060"/>
              <a:gd name="connsiteY108" fmla="*/ 182880 h 289560"/>
              <a:gd name="connsiteX109" fmla="*/ 6865620 w 8862060"/>
              <a:gd name="connsiteY109" fmla="*/ 182880 h 289560"/>
              <a:gd name="connsiteX110" fmla="*/ 6995160 w 8862060"/>
              <a:gd name="connsiteY110" fmla="*/ 190500 h 289560"/>
              <a:gd name="connsiteX111" fmla="*/ 7025640 w 8862060"/>
              <a:gd name="connsiteY111" fmla="*/ 220980 h 289560"/>
              <a:gd name="connsiteX112" fmla="*/ 7124700 w 8862060"/>
              <a:gd name="connsiteY112" fmla="*/ 167640 h 289560"/>
              <a:gd name="connsiteX113" fmla="*/ 7162800 w 8862060"/>
              <a:gd name="connsiteY113" fmla="*/ 205740 h 289560"/>
              <a:gd name="connsiteX114" fmla="*/ 7254240 w 8862060"/>
              <a:gd name="connsiteY114" fmla="*/ 167640 h 289560"/>
              <a:gd name="connsiteX115" fmla="*/ 7307580 w 8862060"/>
              <a:gd name="connsiteY115" fmla="*/ 175260 h 289560"/>
              <a:gd name="connsiteX116" fmla="*/ 7383780 w 8862060"/>
              <a:gd name="connsiteY116" fmla="*/ 144780 h 289560"/>
              <a:gd name="connsiteX117" fmla="*/ 7452360 w 8862060"/>
              <a:gd name="connsiteY117" fmla="*/ 213360 h 289560"/>
              <a:gd name="connsiteX118" fmla="*/ 7513320 w 8862060"/>
              <a:gd name="connsiteY118" fmla="*/ 220980 h 289560"/>
              <a:gd name="connsiteX119" fmla="*/ 7612380 w 8862060"/>
              <a:gd name="connsiteY119" fmla="*/ 213360 h 289560"/>
              <a:gd name="connsiteX120" fmla="*/ 7680960 w 8862060"/>
              <a:gd name="connsiteY120" fmla="*/ 205740 h 289560"/>
              <a:gd name="connsiteX121" fmla="*/ 7757160 w 8862060"/>
              <a:gd name="connsiteY121" fmla="*/ 175260 h 289560"/>
              <a:gd name="connsiteX122" fmla="*/ 7802880 w 8862060"/>
              <a:gd name="connsiteY122" fmla="*/ 175260 h 289560"/>
              <a:gd name="connsiteX123" fmla="*/ 7879080 w 8862060"/>
              <a:gd name="connsiteY123" fmla="*/ 175260 h 289560"/>
              <a:gd name="connsiteX124" fmla="*/ 7955280 w 8862060"/>
              <a:gd name="connsiteY124" fmla="*/ 198120 h 289560"/>
              <a:gd name="connsiteX125" fmla="*/ 7955280 w 8862060"/>
              <a:gd name="connsiteY125" fmla="*/ 198120 h 289560"/>
              <a:gd name="connsiteX126" fmla="*/ 8039100 w 8862060"/>
              <a:gd name="connsiteY126" fmla="*/ 160020 h 289560"/>
              <a:gd name="connsiteX127" fmla="*/ 8107680 w 8862060"/>
              <a:gd name="connsiteY127" fmla="*/ 213360 h 289560"/>
              <a:gd name="connsiteX128" fmla="*/ 8176260 w 8862060"/>
              <a:gd name="connsiteY128" fmla="*/ 175260 h 289560"/>
              <a:gd name="connsiteX129" fmla="*/ 8275320 w 8862060"/>
              <a:gd name="connsiteY129" fmla="*/ 152400 h 289560"/>
              <a:gd name="connsiteX130" fmla="*/ 8313420 w 8862060"/>
              <a:gd name="connsiteY130" fmla="*/ 129540 h 289560"/>
              <a:gd name="connsiteX131" fmla="*/ 8366760 w 8862060"/>
              <a:gd name="connsiteY131" fmla="*/ 182880 h 289560"/>
              <a:gd name="connsiteX132" fmla="*/ 8503920 w 8862060"/>
              <a:gd name="connsiteY132" fmla="*/ 167640 h 289560"/>
              <a:gd name="connsiteX133" fmla="*/ 8534400 w 8862060"/>
              <a:gd name="connsiteY133" fmla="*/ 289560 h 289560"/>
              <a:gd name="connsiteX134" fmla="*/ 8648700 w 8862060"/>
              <a:gd name="connsiteY134" fmla="*/ 251460 h 289560"/>
              <a:gd name="connsiteX135" fmla="*/ 8663940 w 8862060"/>
              <a:gd name="connsiteY135" fmla="*/ 175260 h 289560"/>
              <a:gd name="connsiteX136" fmla="*/ 8732520 w 8862060"/>
              <a:gd name="connsiteY136" fmla="*/ 213360 h 289560"/>
              <a:gd name="connsiteX137" fmla="*/ 8808720 w 8862060"/>
              <a:gd name="connsiteY137" fmla="*/ 220980 h 289560"/>
              <a:gd name="connsiteX138" fmla="*/ 8831580 w 8862060"/>
              <a:gd name="connsiteY138" fmla="*/ 259080 h 289560"/>
              <a:gd name="connsiteX139" fmla="*/ 8862060 w 8862060"/>
              <a:gd name="connsiteY139" fmla="*/ 220980 h 289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8862060" h="289560">
                <a:moveTo>
                  <a:pt x="0" y="15240"/>
                </a:moveTo>
                <a:lnTo>
                  <a:pt x="137160" y="45720"/>
                </a:lnTo>
                <a:lnTo>
                  <a:pt x="228600" y="30480"/>
                </a:lnTo>
                <a:lnTo>
                  <a:pt x="251460" y="68580"/>
                </a:lnTo>
                <a:lnTo>
                  <a:pt x="381000" y="38100"/>
                </a:lnTo>
                <a:lnTo>
                  <a:pt x="426720" y="60960"/>
                </a:lnTo>
                <a:lnTo>
                  <a:pt x="457200" y="45720"/>
                </a:lnTo>
                <a:lnTo>
                  <a:pt x="533400" y="68580"/>
                </a:lnTo>
                <a:lnTo>
                  <a:pt x="594360" y="38100"/>
                </a:lnTo>
                <a:lnTo>
                  <a:pt x="655320" y="60960"/>
                </a:lnTo>
                <a:lnTo>
                  <a:pt x="723900" y="45720"/>
                </a:lnTo>
                <a:lnTo>
                  <a:pt x="845820" y="60960"/>
                </a:lnTo>
                <a:lnTo>
                  <a:pt x="891540" y="38100"/>
                </a:lnTo>
                <a:lnTo>
                  <a:pt x="960120" y="53340"/>
                </a:lnTo>
                <a:lnTo>
                  <a:pt x="1051560" y="60960"/>
                </a:lnTo>
                <a:lnTo>
                  <a:pt x="1074420" y="99060"/>
                </a:lnTo>
                <a:lnTo>
                  <a:pt x="1158240" y="68580"/>
                </a:lnTo>
                <a:lnTo>
                  <a:pt x="1242060" y="99060"/>
                </a:lnTo>
                <a:lnTo>
                  <a:pt x="1318260" y="38100"/>
                </a:lnTo>
                <a:lnTo>
                  <a:pt x="1386840" y="99060"/>
                </a:lnTo>
                <a:lnTo>
                  <a:pt x="1447800" y="76200"/>
                </a:lnTo>
                <a:lnTo>
                  <a:pt x="1493520" y="114300"/>
                </a:lnTo>
                <a:lnTo>
                  <a:pt x="1577340" y="106680"/>
                </a:lnTo>
                <a:lnTo>
                  <a:pt x="1661160" y="76200"/>
                </a:lnTo>
                <a:lnTo>
                  <a:pt x="1699260" y="60960"/>
                </a:lnTo>
                <a:lnTo>
                  <a:pt x="1737360" y="68580"/>
                </a:lnTo>
                <a:lnTo>
                  <a:pt x="1805940" y="83820"/>
                </a:lnTo>
                <a:lnTo>
                  <a:pt x="1836420" y="91440"/>
                </a:lnTo>
                <a:lnTo>
                  <a:pt x="1889760" y="91440"/>
                </a:lnTo>
                <a:lnTo>
                  <a:pt x="1943100" y="114300"/>
                </a:lnTo>
                <a:lnTo>
                  <a:pt x="2019300" y="60960"/>
                </a:lnTo>
                <a:lnTo>
                  <a:pt x="2080260" y="60960"/>
                </a:lnTo>
                <a:lnTo>
                  <a:pt x="2125980" y="45720"/>
                </a:lnTo>
                <a:lnTo>
                  <a:pt x="2171700" y="76200"/>
                </a:lnTo>
                <a:lnTo>
                  <a:pt x="2278380" y="68580"/>
                </a:lnTo>
                <a:lnTo>
                  <a:pt x="2339340" y="60960"/>
                </a:lnTo>
                <a:lnTo>
                  <a:pt x="2438400" y="99060"/>
                </a:lnTo>
                <a:lnTo>
                  <a:pt x="2529840" y="38100"/>
                </a:lnTo>
                <a:lnTo>
                  <a:pt x="2590800" y="76200"/>
                </a:lnTo>
                <a:lnTo>
                  <a:pt x="2697480" y="76200"/>
                </a:lnTo>
                <a:lnTo>
                  <a:pt x="2773680" y="76200"/>
                </a:lnTo>
                <a:lnTo>
                  <a:pt x="2903220" y="22860"/>
                </a:lnTo>
                <a:lnTo>
                  <a:pt x="2964180" y="76200"/>
                </a:lnTo>
                <a:lnTo>
                  <a:pt x="3040380" y="7620"/>
                </a:lnTo>
                <a:lnTo>
                  <a:pt x="3086100" y="53340"/>
                </a:lnTo>
                <a:lnTo>
                  <a:pt x="3223260" y="15240"/>
                </a:lnTo>
                <a:lnTo>
                  <a:pt x="3246120" y="0"/>
                </a:lnTo>
                <a:lnTo>
                  <a:pt x="3291840" y="53340"/>
                </a:lnTo>
                <a:lnTo>
                  <a:pt x="3398520" y="38100"/>
                </a:lnTo>
                <a:lnTo>
                  <a:pt x="3451860" y="91440"/>
                </a:lnTo>
                <a:lnTo>
                  <a:pt x="3558540" y="99060"/>
                </a:lnTo>
                <a:lnTo>
                  <a:pt x="3634740" y="99060"/>
                </a:lnTo>
                <a:lnTo>
                  <a:pt x="3695700" y="83820"/>
                </a:lnTo>
                <a:lnTo>
                  <a:pt x="3779520" y="30480"/>
                </a:lnTo>
                <a:lnTo>
                  <a:pt x="3863340" y="83820"/>
                </a:lnTo>
                <a:lnTo>
                  <a:pt x="3977640" y="121920"/>
                </a:lnTo>
                <a:lnTo>
                  <a:pt x="4000500" y="160020"/>
                </a:lnTo>
                <a:lnTo>
                  <a:pt x="4091940" y="121920"/>
                </a:lnTo>
                <a:lnTo>
                  <a:pt x="4122420" y="76200"/>
                </a:lnTo>
                <a:lnTo>
                  <a:pt x="4229100" y="137160"/>
                </a:lnTo>
                <a:lnTo>
                  <a:pt x="4267200" y="114300"/>
                </a:lnTo>
                <a:lnTo>
                  <a:pt x="4282440" y="144780"/>
                </a:lnTo>
                <a:lnTo>
                  <a:pt x="4351020" y="114300"/>
                </a:lnTo>
                <a:lnTo>
                  <a:pt x="4381500" y="144780"/>
                </a:lnTo>
                <a:lnTo>
                  <a:pt x="4434840" y="144780"/>
                </a:lnTo>
                <a:lnTo>
                  <a:pt x="4495800" y="106680"/>
                </a:lnTo>
                <a:lnTo>
                  <a:pt x="4541520" y="167640"/>
                </a:lnTo>
                <a:lnTo>
                  <a:pt x="4572000" y="121920"/>
                </a:lnTo>
                <a:lnTo>
                  <a:pt x="4686300" y="160020"/>
                </a:lnTo>
                <a:lnTo>
                  <a:pt x="4686300" y="175260"/>
                </a:lnTo>
                <a:lnTo>
                  <a:pt x="4739640" y="137160"/>
                </a:lnTo>
                <a:lnTo>
                  <a:pt x="4762500" y="137160"/>
                </a:lnTo>
                <a:lnTo>
                  <a:pt x="4815840" y="144780"/>
                </a:lnTo>
                <a:lnTo>
                  <a:pt x="4876800" y="182880"/>
                </a:lnTo>
                <a:lnTo>
                  <a:pt x="4907280" y="213360"/>
                </a:lnTo>
                <a:lnTo>
                  <a:pt x="4968240" y="205740"/>
                </a:lnTo>
                <a:lnTo>
                  <a:pt x="4968240" y="220980"/>
                </a:lnTo>
                <a:lnTo>
                  <a:pt x="5067300" y="175260"/>
                </a:lnTo>
                <a:lnTo>
                  <a:pt x="5105400" y="160020"/>
                </a:lnTo>
                <a:lnTo>
                  <a:pt x="5105400" y="160020"/>
                </a:lnTo>
                <a:lnTo>
                  <a:pt x="5196840" y="190500"/>
                </a:lnTo>
                <a:lnTo>
                  <a:pt x="5288280" y="114300"/>
                </a:lnTo>
                <a:lnTo>
                  <a:pt x="5356860" y="137160"/>
                </a:lnTo>
                <a:lnTo>
                  <a:pt x="5433060" y="160020"/>
                </a:lnTo>
                <a:lnTo>
                  <a:pt x="5455920" y="205740"/>
                </a:lnTo>
                <a:lnTo>
                  <a:pt x="5509260" y="106680"/>
                </a:lnTo>
                <a:lnTo>
                  <a:pt x="5562600" y="137160"/>
                </a:lnTo>
                <a:lnTo>
                  <a:pt x="5638800" y="99060"/>
                </a:lnTo>
                <a:lnTo>
                  <a:pt x="5646420" y="152400"/>
                </a:lnTo>
                <a:lnTo>
                  <a:pt x="5730240" y="152400"/>
                </a:lnTo>
                <a:lnTo>
                  <a:pt x="5760720" y="160020"/>
                </a:lnTo>
                <a:lnTo>
                  <a:pt x="5829300" y="160020"/>
                </a:lnTo>
                <a:lnTo>
                  <a:pt x="5928360" y="175260"/>
                </a:lnTo>
                <a:lnTo>
                  <a:pt x="5974080" y="205740"/>
                </a:lnTo>
                <a:lnTo>
                  <a:pt x="6065520" y="175260"/>
                </a:lnTo>
                <a:lnTo>
                  <a:pt x="6088380" y="175260"/>
                </a:lnTo>
                <a:lnTo>
                  <a:pt x="6134100" y="213360"/>
                </a:lnTo>
                <a:lnTo>
                  <a:pt x="6202680" y="213360"/>
                </a:lnTo>
                <a:lnTo>
                  <a:pt x="6286500" y="220980"/>
                </a:lnTo>
                <a:lnTo>
                  <a:pt x="6355080" y="190500"/>
                </a:lnTo>
                <a:lnTo>
                  <a:pt x="6385560" y="213360"/>
                </a:lnTo>
                <a:lnTo>
                  <a:pt x="6484620" y="228600"/>
                </a:lnTo>
                <a:lnTo>
                  <a:pt x="6522720" y="243840"/>
                </a:lnTo>
                <a:lnTo>
                  <a:pt x="6583680" y="198120"/>
                </a:lnTo>
                <a:lnTo>
                  <a:pt x="6659880" y="236220"/>
                </a:lnTo>
                <a:lnTo>
                  <a:pt x="6713220" y="190500"/>
                </a:lnTo>
                <a:lnTo>
                  <a:pt x="6758940" y="167640"/>
                </a:lnTo>
                <a:lnTo>
                  <a:pt x="6758940" y="167640"/>
                </a:lnTo>
                <a:lnTo>
                  <a:pt x="6865620" y="182880"/>
                </a:lnTo>
                <a:lnTo>
                  <a:pt x="6865620" y="182880"/>
                </a:lnTo>
                <a:lnTo>
                  <a:pt x="6995160" y="190500"/>
                </a:lnTo>
                <a:lnTo>
                  <a:pt x="7025640" y="220980"/>
                </a:lnTo>
                <a:lnTo>
                  <a:pt x="7124700" y="167640"/>
                </a:lnTo>
                <a:lnTo>
                  <a:pt x="7162800" y="205740"/>
                </a:lnTo>
                <a:lnTo>
                  <a:pt x="7254240" y="167640"/>
                </a:lnTo>
                <a:lnTo>
                  <a:pt x="7307580" y="175260"/>
                </a:lnTo>
                <a:lnTo>
                  <a:pt x="7383780" y="144780"/>
                </a:lnTo>
                <a:lnTo>
                  <a:pt x="7452360" y="213360"/>
                </a:lnTo>
                <a:lnTo>
                  <a:pt x="7513320" y="220980"/>
                </a:lnTo>
                <a:lnTo>
                  <a:pt x="7612380" y="213360"/>
                </a:lnTo>
                <a:lnTo>
                  <a:pt x="7680960" y="205740"/>
                </a:lnTo>
                <a:lnTo>
                  <a:pt x="7757160" y="175260"/>
                </a:lnTo>
                <a:lnTo>
                  <a:pt x="7802880" y="175260"/>
                </a:lnTo>
                <a:lnTo>
                  <a:pt x="7879080" y="175260"/>
                </a:lnTo>
                <a:lnTo>
                  <a:pt x="7955280" y="198120"/>
                </a:lnTo>
                <a:lnTo>
                  <a:pt x="7955280" y="198120"/>
                </a:lnTo>
                <a:lnTo>
                  <a:pt x="8039100" y="160020"/>
                </a:lnTo>
                <a:lnTo>
                  <a:pt x="8107680" y="213360"/>
                </a:lnTo>
                <a:lnTo>
                  <a:pt x="8176260" y="175260"/>
                </a:lnTo>
                <a:lnTo>
                  <a:pt x="8275320" y="152400"/>
                </a:lnTo>
                <a:lnTo>
                  <a:pt x="8313420" y="129540"/>
                </a:lnTo>
                <a:lnTo>
                  <a:pt x="8366760" y="182880"/>
                </a:lnTo>
                <a:lnTo>
                  <a:pt x="8503920" y="167640"/>
                </a:lnTo>
                <a:lnTo>
                  <a:pt x="8534400" y="289560"/>
                </a:lnTo>
                <a:lnTo>
                  <a:pt x="8648700" y="251460"/>
                </a:lnTo>
                <a:lnTo>
                  <a:pt x="8663940" y="175260"/>
                </a:lnTo>
                <a:lnTo>
                  <a:pt x="8732520" y="213360"/>
                </a:lnTo>
                <a:lnTo>
                  <a:pt x="8808720" y="220980"/>
                </a:lnTo>
                <a:lnTo>
                  <a:pt x="8831580" y="259080"/>
                </a:lnTo>
                <a:lnTo>
                  <a:pt x="8862060" y="220980"/>
                </a:lnTo>
              </a:path>
            </a:pathLst>
          </a:custGeom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24817528-37B6-4AD7-B3B8-7EB7514C350C}"/>
              </a:ext>
            </a:extLst>
          </p:cNvPr>
          <p:cNvSpPr/>
          <p:nvPr/>
        </p:nvSpPr>
        <p:spPr>
          <a:xfrm>
            <a:off x="1897380" y="2926080"/>
            <a:ext cx="8862060" cy="304800"/>
          </a:xfrm>
          <a:custGeom>
            <a:avLst/>
            <a:gdLst>
              <a:gd name="connsiteX0" fmla="*/ 0 w 8862060"/>
              <a:gd name="connsiteY0" fmla="*/ 0 h 304800"/>
              <a:gd name="connsiteX1" fmla="*/ 45720 w 8862060"/>
              <a:gd name="connsiteY1" fmla="*/ 30480 h 304800"/>
              <a:gd name="connsiteX2" fmla="*/ 76200 w 8862060"/>
              <a:gd name="connsiteY2" fmla="*/ 15240 h 304800"/>
              <a:gd name="connsiteX3" fmla="*/ 137160 w 8862060"/>
              <a:gd name="connsiteY3" fmla="*/ 45720 h 304800"/>
              <a:gd name="connsiteX4" fmla="*/ 243840 w 8862060"/>
              <a:gd name="connsiteY4" fmla="*/ 38100 h 304800"/>
              <a:gd name="connsiteX5" fmla="*/ 274320 w 8862060"/>
              <a:gd name="connsiteY5" fmla="*/ 38100 h 304800"/>
              <a:gd name="connsiteX6" fmla="*/ 358140 w 8862060"/>
              <a:gd name="connsiteY6" fmla="*/ 60960 h 304800"/>
              <a:gd name="connsiteX7" fmla="*/ 426720 w 8862060"/>
              <a:gd name="connsiteY7" fmla="*/ 45720 h 304800"/>
              <a:gd name="connsiteX8" fmla="*/ 548640 w 8862060"/>
              <a:gd name="connsiteY8" fmla="*/ 53340 h 304800"/>
              <a:gd name="connsiteX9" fmla="*/ 579120 w 8862060"/>
              <a:gd name="connsiteY9" fmla="*/ 30480 h 304800"/>
              <a:gd name="connsiteX10" fmla="*/ 662940 w 8862060"/>
              <a:gd name="connsiteY10" fmla="*/ 91440 h 304800"/>
              <a:gd name="connsiteX11" fmla="*/ 754380 w 8862060"/>
              <a:gd name="connsiteY11" fmla="*/ 53340 h 304800"/>
              <a:gd name="connsiteX12" fmla="*/ 800100 w 8862060"/>
              <a:gd name="connsiteY12" fmla="*/ 91440 h 304800"/>
              <a:gd name="connsiteX13" fmla="*/ 822960 w 8862060"/>
              <a:gd name="connsiteY13" fmla="*/ 38100 h 304800"/>
              <a:gd name="connsiteX14" fmla="*/ 922020 w 8862060"/>
              <a:gd name="connsiteY14" fmla="*/ 76200 h 304800"/>
              <a:gd name="connsiteX15" fmla="*/ 1036320 w 8862060"/>
              <a:gd name="connsiteY15" fmla="*/ 60960 h 304800"/>
              <a:gd name="connsiteX16" fmla="*/ 1165860 w 8862060"/>
              <a:gd name="connsiteY16" fmla="*/ 68580 h 304800"/>
              <a:gd name="connsiteX17" fmla="*/ 1188720 w 8862060"/>
              <a:gd name="connsiteY17" fmla="*/ 83820 h 304800"/>
              <a:gd name="connsiteX18" fmla="*/ 1272540 w 8862060"/>
              <a:gd name="connsiteY18" fmla="*/ 83820 h 304800"/>
              <a:gd name="connsiteX19" fmla="*/ 1287780 w 8862060"/>
              <a:gd name="connsiteY19" fmla="*/ 129540 h 304800"/>
              <a:gd name="connsiteX20" fmla="*/ 1333500 w 8862060"/>
              <a:gd name="connsiteY20" fmla="*/ 76200 h 304800"/>
              <a:gd name="connsiteX21" fmla="*/ 1341120 w 8862060"/>
              <a:gd name="connsiteY21" fmla="*/ 106680 h 304800"/>
              <a:gd name="connsiteX22" fmla="*/ 1417320 w 8862060"/>
              <a:gd name="connsiteY22" fmla="*/ 99060 h 304800"/>
              <a:gd name="connsiteX23" fmla="*/ 1447800 w 8862060"/>
              <a:gd name="connsiteY23" fmla="*/ 114300 h 304800"/>
              <a:gd name="connsiteX24" fmla="*/ 1493520 w 8862060"/>
              <a:gd name="connsiteY24" fmla="*/ 121920 h 304800"/>
              <a:gd name="connsiteX25" fmla="*/ 1546860 w 8862060"/>
              <a:gd name="connsiteY25" fmla="*/ 68580 h 304800"/>
              <a:gd name="connsiteX26" fmla="*/ 1600200 w 8862060"/>
              <a:gd name="connsiteY26" fmla="*/ 91440 h 304800"/>
              <a:gd name="connsiteX27" fmla="*/ 1661160 w 8862060"/>
              <a:gd name="connsiteY27" fmla="*/ 91440 h 304800"/>
              <a:gd name="connsiteX28" fmla="*/ 1760220 w 8862060"/>
              <a:gd name="connsiteY28" fmla="*/ 99060 h 304800"/>
              <a:gd name="connsiteX29" fmla="*/ 1828800 w 8862060"/>
              <a:gd name="connsiteY29" fmla="*/ 106680 h 304800"/>
              <a:gd name="connsiteX30" fmla="*/ 1965960 w 8862060"/>
              <a:gd name="connsiteY30" fmla="*/ 60960 h 304800"/>
              <a:gd name="connsiteX31" fmla="*/ 2057400 w 8862060"/>
              <a:gd name="connsiteY31" fmla="*/ 76200 h 304800"/>
              <a:gd name="connsiteX32" fmla="*/ 2125980 w 8862060"/>
              <a:gd name="connsiteY32" fmla="*/ 76200 h 304800"/>
              <a:gd name="connsiteX33" fmla="*/ 2202180 w 8862060"/>
              <a:gd name="connsiteY33" fmla="*/ 114300 h 304800"/>
              <a:gd name="connsiteX34" fmla="*/ 2286000 w 8862060"/>
              <a:gd name="connsiteY34" fmla="*/ 68580 h 304800"/>
              <a:gd name="connsiteX35" fmla="*/ 2354580 w 8862060"/>
              <a:gd name="connsiteY35" fmla="*/ 99060 h 304800"/>
              <a:gd name="connsiteX36" fmla="*/ 2400300 w 8862060"/>
              <a:gd name="connsiteY36" fmla="*/ 106680 h 304800"/>
              <a:gd name="connsiteX37" fmla="*/ 2468880 w 8862060"/>
              <a:gd name="connsiteY37" fmla="*/ 60960 h 304800"/>
              <a:gd name="connsiteX38" fmla="*/ 2514600 w 8862060"/>
              <a:gd name="connsiteY38" fmla="*/ 106680 h 304800"/>
              <a:gd name="connsiteX39" fmla="*/ 2613660 w 8862060"/>
              <a:gd name="connsiteY39" fmla="*/ 68580 h 304800"/>
              <a:gd name="connsiteX40" fmla="*/ 2697480 w 8862060"/>
              <a:gd name="connsiteY40" fmla="*/ 68580 h 304800"/>
              <a:gd name="connsiteX41" fmla="*/ 2796540 w 8862060"/>
              <a:gd name="connsiteY41" fmla="*/ 114300 h 304800"/>
              <a:gd name="connsiteX42" fmla="*/ 2872740 w 8862060"/>
              <a:gd name="connsiteY42" fmla="*/ 99060 h 304800"/>
              <a:gd name="connsiteX43" fmla="*/ 3017520 w 8862060"/>
              <a:gd name="connsiteY43" fmla="*/ 106680 h 304800"/>
              <a:gd name="connsiteX44" fmla="*/ 3124200 w 8862060"/>
              <a:gd name="connsiteY44" fmla="*/ 99060 h 304800"/>
              <a:gd name="connsiteX45" fmla="*/ 3223260 w 8862060"/>
              <a:gd name="connsiteY45" fmla="*/ 99060 h 304800"/>
              <a:gd name="connsiteX46" fmla="*/ 3375660 w 8862060"/>
              <a:gd name="connsiteY46" fmla="*/ 38100 h 304800"/>
              <a:gd name="connsiteX47" fmla="*/ 3383280 w 8862060"/>
              <a:gd name="connsiteY47" fmla="*/ 83820 h 304800"/>
              <a:gd name="connsiteX48" fmla="*/ 3497580 w 8862060"/>
              <a:gd name="connsiteY48" fmla="*/ 137160 h 304800"/>
              <a:gd name="connsiteX49" fmla="*/ 3604260 w 8862060"/>
              <a:gd name="connsiteY49" fmla="*/ 160020 h 304800"/>
              <a:gd name="connsiteX50" fmla="*/ 3657600 w 8862060"/>
              <a:gd name="connsiteY50" fmla="*/ 144780 h 304800"/>
              <a:gd name="connsiteX51" fmla="*/ 3657600 w 8862060"/>
              <a:gd name="connsiteY51" fmla="*/ 144780 h 304800"/>
              <a:gd name="connsiteX52" fmla="*/ 3771900 w 8862060"/>
              <a:gd name="connsiteY52" fmla="*/ 160020 h 304800"/>
              <a:gd name="connsiteX53" fmla="*/ 3870960 w 8862060"/>
              <a:gd name="connsiteY53" fmla="*/ 175260 h 304800"/>
              <a:gd name="connsiteX54" fmla="*/ 3954780 w 8862060"/>
              <a:gd name="connsiteY54" fmla="*/ 167640 h 304800"/>
              <a:gd name="connsiteX55" fmla="*/ 3985260 w 8862060"/>
              <a:gd name="connsiteY55" fmla="*/ 152400 h 304800"/>
              <a:gd name="connsiteX56" fmla="*/ 4046220 w 8862060"/>
              <a:gd name="connsiteY56" fmla="*/ 160020 h 304800"/>
              <a:gd name="connsiteX57" fmla="*/ 4130040 w 8862060"/>
              <a:gd name="connsiteY57" fmla="*/ 152400 h 304800"/>
              <a:gd name="connsiteX58" fmla="*/ 4191000 w 8862060"/>
              <a:gd name="connsiteY58" fmla="*/ 175260 h 304800"/>
              <a:gd name="connsiteX59" fmla="*/ 4282440 w 8862060"/>
              <a:gd name="connsiteY59" fmla="*/ 152400 h 304800"/>
              <a:gd name="connsiteX60" fmla="*/ 4312920 w 8862060"/>
              <a:gd name="connsiteY60" fmla="*/ 182880 h 304800"/>
              <a:gd name="connsiteX61" fmla="*/ 4366260 w 8862060"/>
              <a:gd name="connsiteY61" fmla="*/ 137160 h 304800"/>
              <a:gd name="connsiteX62" fmla="*/ 4434840 w 8862060"/>
              <a:gd name="connsiteY62" fmla="*/ 190500 h 304800"/>
              <a:gd name="connsiteX63" fmla="*/ 4511040 w 8862060"/>
              <a:gd name="connsiteY63" fmla="*/ 198120 h 304800"/>
              <a:gd name="connsiteX64" fmla="*/ 4579620 w 8862060"/>
              <a:gd name="connsiteY64" fmla="*/ 213360 h 304800"/>
              <a:gd name="connsiteX65" fmla="*/ 4648200 w 8862060"/>
              <a:gd name="connsiteY65" fmla="*/ 220980 h 304800"/>
              <a:gd name="connsiteX66" fmla="*/ 4724400 w 8862060"/>
              <a:gd name="connsiteY66" fmla="*/ 167640 h 304800"/>
              <a:gd name="connsiteX67" fmla="*/ 4800600 w 8862060"/>
              <a:gd name="connsiteY67" fmla="*/ 205740 h 304800"/>
              <a:gd name="connsiteX68" fmla="*/ 4823460 w 8862060"/>
              <a:gd name="connsiteY68" fmla="*/ 190500 h 304800"/>
              <a:gd name="connsiteX69" fmla="*/ 4876800 w 8862060"/>
              <a:gd name="connsiteY69" fmla="*/ 220980 h 304800"/>
              <a:gd name="connsiteX70" fmla="*/ 4930140 w 8862060"/>
              <a:gd name="connsiteY70" fmla="*/ 190500 h 304800"/>
              <a:gd name="connsiteX71" fmla="*/ 5006340 w 8862060"/>
              <a:gd name="connsiteY71" fmla="*/ 213360 h 304800"/>
              <a:gd name="connsiteX72" fmla="*/ 5059680 w 8862060"/>
              <a:gd name="connsiteY72" fmla="*/ 190500 h 304800"/>
              <a:gd name="connsiteX73" fmla="*/ 5181600 w 8862060"/>
              <a:gd name="connsiteY73" fmla="*/ 220980 h 304800"/>
              <a:gd name="connsiteX74" fmla="*/ 5227320 w 8862060"/>
              <a:gd name="connsiteY74" fmla="*/ 160020 h 304800"/>
              <a:gd name="connsiteX75" fmla="*/ 5250180 w 8862060"/>
              <a:gd name="connsiteY75" fmla="*/ 198120 h 304800"/>
              <a:gd name="connsiteX76" fmla="*/ 5349240 w 8862060"/>
              <a:gd name="connsiteY76" fmla="*/ 198120 h 304800"/>
              <a:gd name="connsiteX77" fmla="*/ 5394960 w 8862060"/>
              <a:gd name="connsiteY77" fmla="*/ 198120 h 304800"/>
              <a:gd name="connsiteX78" fmla="*/ 5471160 w 8862060"/>
              <a:gd name="connsiteY78" fmla="*/ 175260 h 304800"/>
              <a:gd name="connsiteX79" fmla="*/ 5577840 w 8862060"/>
              <a:gd name="connsiteY79" fmla="*/ 228600 h 304800"/>
              <a:gd name="connsiteX80" fmla="*/ 5615940 w 8862060"/>
              <a:gd name="connsiteY80" fmla="*/ 198120 h 304800"/>
              <a:gd name="connsiteX81" fmla="*/ 5745480 w 8862060"/>
              <a:gd name="connsiteY81" fmla="*/ 236220 h 304800"/>
              <a:gd name="connsiteX82" fmla="*/ 5852160 w 8862060"/>
              <a:gd name="connsiteY82" fmla="*/ 220980 h 304800"/>
              <a:gd name="connsiteX83" fmla="*/ 5943600 w 8862060"/>
              <a:gd name="connsiteY83" fmla="*/ 213360 h 304800"/>
              <a:gd name="connsiteX84" fmla="*/ 5996940 w 8862060"/>
              <a:gd name="connsiteY84" fmla="*/ 182880 h 304800"/>
              <a:gd name="connsiteX85" fmla="*/ 6027420 w 8862060"/>
              <a:gd name="connsiteY85" fmla="*/ 228600 h 304800"/>
              <a:gd name="connsiteX86" fmla="*/ 6065520 w 8862060"/>
              <a:gd name="connsiteY86" fmla="*/ 190500 h 304800"/>
              <a:gd name="connsiteX87" fmla="*/ 6149340 w 8862060"/>
              <a:gd name="connsiteY87" fmla="*/ 198120 h 304800"/>
              <a:gd name="connsiteX88" fmla="*/ 6217920 w 8862060"/>
              <a:gd name="connsiteY88" fmla="*/ 228600 h 304800"/>
              <a:gd name="connsiteX89" fmla="*/ 6278880 w 8862060"/>
              <a:gd name="connsiteY89" fmla="*/ 213360 h 304800"/>
              <a:gd name="connsiteX90" fmla="*/ 6324600 w 8862060"/>
              <a:gd name="connsiteY90" fmla="*/ 175260 h 304800"/>
              <a:gd name="connsiteX91" fmla="*/ 6385560 w 8862060"/>
              <a:gd name="connsiteY91" fmla="*/ 182880 h 304800"/>
              <a:gd name="connsiteX92" fmla="*/ 6446520 w 8862060"/>
              <a:gd name="connsiteY92" fmla="*/ 198120 h 304800"/>
              <a:gd name="connsiteX93" fmla="*/ 6499860 w 8862060"/>
              <a:gd name="connsiteY93" fmla="*/ 198120 h 304800"/>
              <a:gd name="connsiteX94" fmla="*/ 6606540 w 8862060"/>
              <a:gd name="connsiteY94" fmla="*/ 198120 h 304800"/>
              <a:gd name="connsiteX95" fmla="*/ 6713220 w 8862060"/>
              <a:gd name="connsiteY95" fmla="*/ 198120 h 304800"/>
              <a:gd name="connsiteX96" fmla="*/ 6774180 w 8862060"/>
              <a:gd name="connsiteY96" fmla="*/ 220980 h 304800"/>
              <a:gd name="connsiteX97" fmla="*/ 6880860 w 8862060"/>
              <a:gd name="connsiteY97" fmla="*/ 190500 h 304800"/>
              <a:gd name="connsiteX98" fmla="*/ 6934200 w 8862060"/>
              <a:gd name="connsiteY98" fmla="*/ 175260 h 304800"/>
              <a:gd name="connsiteX99" fmla="*/ 6995160 w 8862060"/>
              <a:gd name="connsiteY99" fmla="*/ 175260 h 304800"/>
              <a:gd name="connsiteX100" fmla="*/ 7132320 w 8862060"/>
              <a:gd name="connsiteY100" fmla="*/ 175260 h 304800"/>
              <a:gd name="connsiteX101" fmla="*/ 7239000 w 8862060"/>
              <a:gd name="connsiteY101" fmla="*/ 144780 h 304800"/>
              <a:gd name="connsiteX102" fmla="*/ 7315200 w 8862060"/>
              <a:gd name="connsiteY102" fmla="*/ 175260 h 304800"/>
              <a:gd name="connsiteX103" fmla="*/ 7353300 w 8862060"/>
              <a:gd name="connsiteY103" fmla="*/ 167640 h 304800"/>
              <a:gd name="connsiteX104" fmla="*/ 7391400 w 8862060"/>
              <a:gd name="connsiteY104" fmla="*/ 144780 h 304800"/>
              <a:gd name="connsiteX105" fmla="*/ 7429500 w 8862060"/>
              <a:gd name="connsiteY105" fmla="*/ 152400 h 304800"/>
              <a:gd name="connsiteX106" fmla="*/ 7505700 w 8862060"/>
              <a:gd name="connsiteY106" fmla="*/ 175260 h 304800"/>
              <a:gd name="connsiteX107" fmla="*/ 7551420 w 8862060"/>
              <a:gd name="connsiteY107" fmla="*/ 144780 h 304800"/>
              <a:gd name="connsiteX108" fmla="*/ 7604760 w 8862060"/>
              <a:gd name="connsiteY108" fmla="*/ 144780 h 304800"/>
              <a:gd name="connsiteX109" fmla="*/ 7635240 w 8862060"/>
              <a:gd name="connsiteY109" fmla="*/ 175260 h 304800"/>
              <a:gd name="connsiteX110" fmla="*/ 7680960 w 8862060"/>
              <a:gd name="connsiteY110" fmla="*/ 175260 h 304800"/>
              <a:gd name="connsiteX111" fmla="*/ 7734300 w 8862060"/>
              <a:gd name="connsiteY111" fmla="*/ 144780 h 304800"/>
              <a:gd name="connsiteX112" fmla="*/ 7810500 w 8862060"/>
              <a:gd name="connsiteY112" fmla="*/ 167640 h 304800"/>
              <a:gd name="connsiteX113" fmla="*/ 7879080 w 8862060"/>
              <a:gd name="connsiteY113" fmla="*/ 152400 h 304800"/>
              <a:gd name="connsiteX114" fmla="*/ 7909560 w 8862060"/>
              <a:gd name="connsiteY114" fmla="*/ 167640 h 304800"/>
              <a:gd name="connsiteX115" fmla="*/ 7985760 w 8862060"/>
              <a:gd name="connsiteY115" fmla="*/ 129540 h 304800"/>
              <a:gd name="connsiteX116" fmla="*/ 8023860 w 8862060"/>
              <a:gd name="connsiteY116" fmla="*/ 167640 h 304800"/>
              <a:gd name="connsiteX117" fmla="*/ 8107680 w 8862060"/>
              <a:gd name="connsiteY117" fmla="*/ 160020 h 304800"/>
              <a:gd name="connsiteX118" fmla="*/ 8199120 w 8862060"/>
              <a:gd name="connsiteY118" fmla="*/ 167640 h 304800"/>
              <a:gd name="connsiteX119" fmla="*/ 8267700 w 8862060"/>
              <a:gd name="connsiteY119" fmla="*/ 167640 h 304800"/>
              <a:gd name="connsiteX120" fmla="*/ 8389620 w 8862060"/>
              <a:gd name="connsiteY120" fmla="*/ 114300 h 304800"/>
              <a:gd name="connsiteX121" fmla="*/ 8458200 w 8862060"/>
              <a:gd name="connsiteY121" fmla="*/ 129540 h 304800"/>
              <a:gd name="connsiteX122" fmla="*/ 8534400 w 8862060"/>
              <a:gd name="connsiteY122" fmla="*/ 304800 h 304800"/>
              <a:gd name="connsiteX123" fmla="*/ 8633460 w 8862060"/>
              <a:gd name="connsiteY123" fmla="*/ 243840 h 304800"/>
              <a:gd name="connsiteX124" fmla="*/ 8702040 w 8862060"/>
              <a:gd name="connsiteY124" fmla="*/ 266700 h 304800"/>
              <a:gd name="connsiteX125" fmla="*/ 8793480 w 8862060"/>
              <a:gd name="connsiteY125" fmla="*/ 236220 h 304800"/>
              <a:gd name="connsiteX126" fmla="*/ 8831580 w 8862060"/>
              <a:gd name="connsiteY126" fmla="*/ 266700 h 304800"/>
              <a:gd name="connsiteX127" fmla="*/ 8862060 w 8862060"/>
              <a:gd name="connsiteY127" fmla="*/ 25146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</a:cxnLst>
            <a:rect l="l" t="t" r="r" b="b"/>
            <a:pathLst>
              <a:path w="8862060" h="304800">
                <a:moveTo>
                  <a:pt x="0" y="0"/>
                </a:moveTo>
                <a:lnTo>
                  <a:pt x="45720" y="30480"/>
                </a:lnTo>
                <a:lnTo>
                  <a:pt x="76200" y="15240"/>
                </a:lnTo>
                <a:lnTo>
                  <a:pt x="137160" y="45720"/>
                </a:lnTo>
                <a:lnTo>
                  <a:pt x="243840" y="38100"/>
                </a:lnTo>
                <a:lnTo>
                  <a:pt x="274320" y="38100"/>
                </a:lnTo>
                <a:lnTo>
                  <a:pt x="358140" y="60960"/>
                </a:lnTo>
                <a:lnTo>
                  <a:pt x="426720" y="45720"/>
                </a:lnTo>
                <a:lnTo>
                  <a:pt x="548640" y="53340"/>
                </a:lnTo>
                <a:lnTo>
                  <a:pt x="579120" y="30480"/>
                </a:lnTo>
                <a:lnTo>
                  <a:pt x="662940" y="91440"/>
                </a:lnTo>
                <a:lnTo>
                  <a:pt x="754380" y="53340"/>
                </a:lnTo>
                <a:lnTo>
                  <a:pt x="800100" y="91440"/>
                </a:lnTo>
                <a:lnTo>
                  <a:pt x="822960" y="38100"/>
                </a:lnTo>
                <a:lnTo>
                  <a:pt x="922020" y="76200"/>
                </a:lnTo>
                <a:lnTo>
                  <a:pt x="1036320" y="60960"/>
                </a:lnTo>
                <a:lnTo>
                  <a:pt x="1165860" y="68580"/>
                </a:lnTo>
                <a:lnTo>
                  <a:pt x="1188720" y="83820"/>
                </a:lnTo>
                <a:lnTo>
                  <a:pt x="1272540" y="83820"/>
                </a:lnTo>
                <a:lnTo>
                  <a:pt x="1287780" y="129540"/>
                </a:lnTo>
                <a:lnTo>
                  <a:pt x="1333500" y="76200"/>
                </a:lnTo>
                <a:lnTo>
                  <a:pt x="1341120" y="106680"/>
                </a:lnTo>
                <a:lnTo>
                  <a:pt x="1417320" y="99060"/>
                </a:lnTo>
                <a:lnTo>
                  <a:pt x="1447800" y="114300"/>
                </a:lnTo>
                <a:lnTo>
                  <a:pt x="1493520" y="121920"/>
                </a:lnTo>
                <a:lnTo>
                  <a:pt x="1546860" y="68580"/>
                </a:lnTo>
                <a:lnTo>
                  <a:pt x="1600200" y="91440"/>
                </a:lnTo>
                <a:lnTo>
                  <a:pt x="1661160" y="91440"/>
                </a:lnTo>
                <a:lnTo>
                  <a:pt x="1760220" y="99060"/>
                </a:lnTo>
                <a:lnTo>
                  <a:pt x="1828800" y="106680"/>
                </a:lnTo>
                <a:lnTo>
                  <a:pt x="1965960" y="60960"/>
                </a:lnTo>
                <a:lnTo>
                  <a:pt x="2057400" y="76200"/>
                </a:lnTo>
                <a:lnTo>
                  <a:pt x="2125980" y="76200"/>
                </a:lnTo>
                <a:lnTo>
                  <a:pt x="2202180" y="114300"/>
                </a:lnTo>
                <a:lnTo>
                  <a:pt x="2286000" y="68580"/>
                </a:lnTo>
                <a:lnTo>
                  <a:pt x="2354580" y="99060"/>
                </a:lnTo>
                <a:lnTo>
                  <a:pt x="2400300" y="106680"/>
                </a:lnTo>
                <a:lnTo>
                  <a:pt x="2468880" y="60960"/>
                </a:lnTo>
                <a:lnTo>
                  <a:pt x="2514600" y="106680"/>
                </a:lnTo>
                <a:lnTo>
                  <a:pt x="2613660" y="68580"/>
                </a:lnTo>
                <a:lnTo>
                  <a:pt x="2697480" y="68580"/>
                </a:lnTo>
                <a:lnTo>
                  <a:pt x="2796540" y="114300"/>
                </a:lnTo>
                <a:lnTo>
                  <a:pt x="2872740" y="99060"/>
                </a:lnTo>
                <a:lnTo>
                  <a:pt x="3017520" y="106680"/>
                </a:lnTo>
                <a:lnTo>
                  <a:pt x="3124200" y="99060"/>
                </a:lnTo>
                <a:lnTo>
                  <a:pt x="3223260" y="99060"/>
                </a:lnTo>
                <a:lnTo>
                  <a:pt x="3375660" y="38100"/>
                </a:lnTo>
                <a:lnTo>
                  <a:pt x="3383280" y="83820"/>
                </a:lnTo>
                <a:lnTo>
                  <a:pt x="3497580" y="137160"/>
                </a:lnTo>
                <a:lnTo>
                  <a:pt x="3604260" y="160020"/>
                </a:lnTo>
                <a:lnTo>
                  <a:pt x="3657600" y="144780"/>
                </a:lnTo>
                <a:lnTo>
                  <a:pt x="3657600" y="144780"/>
                </a:lnTo>
                <a:lnTo>
                  <a:pt x="3771900" y="160020"/>
                </a:lnTo>
                <a:lnTo>
                  <a:pt x="3870960" y="175260"/>
                </a:lnTo>
                <a:lnTo>
                  <a:pt x="3954780" y="167640"/>
                </a:lnTo>
                <a:lnTo>
                  <a:pt x="3985260" y="152400"/>
                </a:lnTo>
                <a:lnTo>
                  <a:pt x="4046220" y="160020"/>
                </a:lnTo>
                <a:lnTo>
                  <a:pt x="4130040" y="152400"/>
                </a:lnTo>
                <a:lnTo>
                  <a:pt x="4191000" y="175260"/>
                </a:lnTo>
                <a:lnTo>
                  <a:pt x="4282440" y="152400"/>
                </a:lnTo>
                <a:lnTo>
                  <a:pt x="4312920" y="182880"/>
                </a:lnTo>
                <a:lnTo>
                  <a:pt x="4366260" y="137160"/>
                </a:lnTo>
                <a:lnTo>
                  <a:pt x="4434840" y="190500"/>
                </a:lnTo>
                <a:lnTo>
                  <a:pt x="4511040" y="198120"/>
                </a:lnTo>
                <a:lnTo>
                  <a:pt x="4579620" y="213360"/>
                </a:lnTo>
                <a:lnTo>
                  <a:pt x="4648200" y="220980"/>
                </a:lnTo>
                <a:lnTo>
                  <a:pt x="4724400" y="167640"/>
                </a:lnTo>
                <a:lnTo>
                  <a:pt x="4800600" y="205740"/>
                </a:lnTo>
                <a:lnTo>
                  <a:pt x="4823460" y="190500"/>
                </a:lnTo>
                <a:lnTo>
                  <a:pt x="4876800" y="220980"/>
                </a:lnTo>
                <a:lnTo>
                  <a:pt x="4930140" y="190500"/>
                </a:lnTo>
                <a:lnTo>
                  <a:pt x="5006340" y="213360"/>
                </a:lnTo>
                <a:lnTo>
                  <a:pt x="5059680" y="190500"/>
                </a:lnTo>
                <a:lnTo>
                  <a:pt x="5181600" y="220980"/>
                </a:lnTo>
                <a:lnTo>
                  <a:pt x="5227320" y="160020"/>
                </a:lnTo>
                <a:lnTo>
                  <a:pt x="5250180" y="198120"/>
                </a:lnTo>
                <a:lnTo>
                  <a:pt x="5349240" y="198120"/>
                </a:lnTo>
                <a:lnTo>
                  <a:pt x="5394960" y="198120"/>
                </a:lnTo>
                <a:lnTo>
                  <a:pt x="5471160" y="175260"/>
                </a:lnTo>
                <a:lnTo>
                  <a:pt x="5577840" y="228600"/>
                </a:lnTo>
                <a:lnTo>
                  <a:pt x="5615940" y="198120"/>
                </a:lnTo>
                <a:lnTo>
                  <a:pt x="5745480" y="236220"/>
                </a:lnTo>
                <a:lnTo>
                  <a:pt x="5852160" y="220980"/>
                </a:lnTo>
                <a:lnTo>
                  <a:pt x="5943600" y="213360"/>
                </a:lnTo>
                <a:lnTo>
                  <a:pt x="5996940" y="182880"/>
                </a:lnTo>
                <a:lnTo>
                  <a:pt x="6027420" y="228600"/>
                </a:lnTo>
                <a:lnTo>
                  <a:pt x="6065520" y="190500"/>
                </a:lnTo>
                <a:lnTo>
                  <a:pt x="6149340" y="198120"/>
                </a:lnTo>
                <a:lnTo>
                  <a:pt x="6217920" y="228600"/>
                </a:lnTo>
                <a:lnTo>
                  <a:pt x="6278880" y="213360"/>
                </a:lnTo>
                <a:lnTo>
                  <a:pt x="6324600" y="175260"/>
                </a:lnTo>
                <a:lnTo>
                  <a:pt x="6385560" y="182880"/>
                </a:lnTo>
                <a:lnTo>
                  <a:pt x="6446520" y="198120"/>
                </a:lnTo>
                <a:lnTo>
                  <a:pt x="6499860" y="198120"/>
                </a:lnTo>
                <a:lnTo>
                  <a:pt x="6606540" y="198120"/>
                </a:lnTo>
                <a:lnTo>
                  <a:pt x="6713220" y="198120"/>
                </a:lnTo>
                <a:lnTo>
                  <a:pt x="6774180" y="220980"/>
                </a:lnTo>
                <a:lnTo>
                  <a:pt x="6880860" y="190500"/>
                </a:lnTo>
                <a:lnTo>
                  <a:pt x="6934200" y="175260"/>
                </a:lnTo>
                <a:lnTo>
                  <a:pt x="6995160" y="175260"/>
                </a:lnTo>
                <a:lnTo>
                  <a:pt x="7132320" y="175260"/>
                </a:lnTo>
                <a:lnTo>
                  <a:pt x="7239000" y="144780"/>
                </a:lnTo>
                <a:lnTo>
                  <a:pt x="7315200" y="175260"/>
                </a:lnTo>
                <a:lnTo>
                  <a:pt x="7353300" y="167640"/>
                </a:lnTo>
                <a:lnTo>
                  <a:pt x="7391400" y="144780"/>
                </a:lnTo>
                <a:lnTo>
                  <a:pt x="7429500" y="152400"/>
                </a:lnTo>
                <a:lnTo>
                  <a:pt x="7505700" y="175260"/>
                </a:lnTo>
                <a:lnTo>
                  <a:pt x="7551420" y="144780"/>
                </a:lnTo>
                <a:lnTo>
                  <a:pt x="7604760" y="144780"/>
                </a:lnTo>
                <a:lnTo>
                  <a:pt x="7635240" y="175260"/>
                </a:lnTo>
                <a:lnTo>
                  <a:pt x="7680960" y="175260"/>
                </a:lnTo>
                <a:lnTo>
                  <a:pt x="7734300" y="144780"/>
                </a:lnTo>
                <a:lnTo>
                  <a:pt x="7810500" y="167640"/>
                </a:lnTo>
                <a:lnTo>
                  <a:pt x="7879080" y="152400"/>
                </a:lnTo>
                <a:lnTo>
                  <a:pt x="7909560" y="167640"/>
                </a:lnTo>
                <a:lnTo>
                  <a:pt x="7985760" y="129540"/>
                </a:lnTo>
                <a:lnTo>
                  <a:pt x="8023860" y="167640"/>
                </a:lnTo>
                <a:lnTo>
                  <a:pt x="8107680" y="160020"/>
                </a:lnTo>
                <a:lnTo>
                  <a:pt x="8199120" y="167640"/>
                </a:lnTo>
                <a:lnTo>
                  <a:pt x="8267700" y="167640"/>
                </a:lnTo>
                <a:lnTo>
                  <a:pt x="8389620" y="114300"/>
                </a:lnTo>
                <a:lnTo>
                  <a:pt x="8458200" y="129540"/>
                </a:lnTo>
                <a:lnTo>
                  <a:pt x="8534400" y="304800"/>
                </a:lnTo>
                <a:lnTo>
                  <a:pt x="8633460" y="243840"/>
                </a:lnTo>
                <a:lnTo>
                  <a:pt x="8702040" y="266700"/>
                </a:lnTo>
                <a:lnTo>
                  <a:pt x="8793480" y="236220"/>
                </a:lnTo>
                <a:lnTo>
                  <a:pt x="8831580" y="266700"/>
                </a:lnTo>
                <a:lnTo>
                  <a:pt x="8862060" y="251460"/>
                </a:lnTo>
              </a:path>
            </a:pathLst>
          </a:cu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E682E0E8-338B-4DE9-A4A5-CDE840CBD059}"/>
              </a:ext>
            </a:extLst>
          </p:cNvPr>
          <p:cNvSpPr/>
          <p:nvPr/>
        </p:nvSpPr>
        <p:spPr>
          <a:xfrm>
            <a:off x="1882140" y="2849880"/>
            <a:ext cx="8869680" cy="289560"/>
          </a:xfrm>
          <a:custGeom>
            <a:avLst/>
            <a:gdLst>
              <a:gd name="connsiteX0" fmla="*/ 0 w 8869680"/>
              <a:gd name="connsiteY0" fmla="*/ 15240 h 289560"/>
              <a:gd name="connsiteX1" fmla="*/ 60960 w 8869680"/>
              <a:gd name="connsiteY1" fmla="*/ 15240 h 289560"/>
              <a:gd name="connsiteX2" fmla="*/ 190500 w 8869680"/>
              <a:gd name="connsiteY2" fmla="*/ 45720 h 289560"/>
              <a:gd name="connsiteX3" fmla="*/ 251460 w 8869680"/>
              <a:gd name="connsiteY3" fmla="*/ 60960 h 289560"/>
              <a:gd name="connsiteX4" fmla="*/ 350520 w 8869680"/>
              <a:gd name="connsiteY4" fmla="*/ 30480 h 289560"/>
              <a:gd name="connsiteX5" fmla="*/ 464820 w 8869680"/>
              <a:gd name="connsiteY5" fmla="*/ 30480 h 289560"/>
              <a:gd name="connsiteX6" fmla="*/ 495300 w 8869680"/>
              <a:gd name="connsiteY6" fmla="*/ 30480 h 289560"/>
              <a:gd name="connsiteX7" fmla="*/ 541020 w 8869680"/>
              <a:gd name="connsiteY7" fmla="*/ 30480 h 289560"/>
              <a:gd name="connsiteX8" fmla="*/ 647700 w 8869680"/>
              <a:gd name="connsiteY8" fmla="*/ 30480 h 289560"/>
              <a:gd name="connsiteX9" fmla="*/ 807720 w 8869680"/>
              <a:gd name="connsiteY9" fmla="*/ 60960 h 289560"/>
              <a:gd name="connsiteX10" fmla="*/ 929640 w 8869680"/>
              <a:gd name="connsiteY10" fmla="*/ 45720 h 289560"/>
              <a:gd name="connsiteX11" fmla="*/ 1059180 w 8869680"/>
              <a:gd name="connsiteY11" fmla="*/ 60960 h 289560"/>
              <a:gd name="connsiteX12" fmla="*/ 1112520 w 8869680"/>
              <a:gd name="connsiteY12" fmla="*/ 91440 h 289560"/>
              <a:gd name="connsiteX13" fmla="*/ 1188720 w 8869680"/>
              <a:gd name="connsiteY13" fmla="*/ 60960 h 289560"/>
              <a:gd name="connsiteX14" fmla="*/ 1234440 w 8869680"/>
              <a:gd name="connsiteY14" fmla="*/ 60960 h 289560"/>
              <a:gd name="connsiteX15" fmla="*/ 1249680 w 8869680"/>
              <a:gd name="connsiteY15" fmla="*/ 114300 h 289560"/>
              <a:gd name="connsiteX16" fmla="*/ 1318260 w 8869680"/>
              <a:gd name="connsiteY16" fmla="*/ 60960 h 289560"/>
              <a:gd name="connsiteX17" fmla="*/ 1424940 w 8869680"/>
              <a:gd name="connsiteY17" fmla="*/ 76200 h 289560"/>
              <a:gd name="connsiteX18" fmla="*/ 1546860 w 8869680"/>
              <a:gd name="connsiteY18" fmla="*/ 121920 h 289560"/>
              <a:gd name="connsiteX19" fmla="*/ 1623060 w 8869680"/>
              <a:gd name="connsiteY19" fmla="*/ 68580 h 289560"/>
              <a:gd name="connsiteX20" fmla="*/ 1706880 w 8869680"/>
              <a:gd name="connsiteY20" fmla="*/ 45720 h 289560"/>
              <a:gd name="connsiteX21" fmla="*/ 1760220 w 8869680"/>
              <a:gd name="connsiteY21" fmla="*/ 76200 h 289560"/>
              <a:gd name="connsiteX22" fmla="*/ 1821180 w 8869680"/>
              <a:gd name="connsiteY22" fmla="*/ 60960 h 289560"/>
              <a:gd name="connsiteX23" fmla="*/ 1889760 w 8869680"/>
              <a:gd name="connsiteY23" fmla="*/ 60960 h 289560"/>
              <a:gd name="connsiteX24" fmla="*/ 1973580 w 8869680"/>
              <a:gd name="connsiteY24" fmla="*/ 106680 h 289560"/>
              <a:gd name="connsiteX25" fmla="*/ 2026920 w 8869680"/>
              <a:gd name="connsiteY25" fmla="*/ 68580 h 289560"/>
              <a:gd name="connsiteX26" fmla="*/ 2103120 w 8869680"/>
              <a:gd name="connsiteY26" fmla="*/ 30480 h 289560"/>
              <a:gd name="connsiteX27" fmla="*/ 2156460 w 8869680"/>
              <a:gd name="connsiteY27" fmla="*/ 60960 h 289560"/>
              <a:gd name="connsiteX28" fmla="*/ 2194560 w 8869680"/>
              <a:gd name="connsiteY28" fmla="*/ 91440 h 289560"/>
              <a:gd name="connsiteX29" fmla="*/ 2263140 w 8869680"/>
              <a:gd name="connsiteY29" fmla="*/ 53340 h 289560"/>
              <a:gd name="connsiteX30" fmla="*/ 2301240 w 8869680"/>
              <a:gd name="connsiteY30" fmla="*/ 53340 h 289560"/>
              <a:gd name="connsiteX31" fmla="*/ 2354580 w 8869680"/>
              <a:gd name="connsiteY31" fmla="*/ 68580 h 289560"/>
              <a:gd name="connsiteX32" fmla="*/ 2377440 w 8869680"/>
              <a:gd name="connsiteY32" fmla="*/ 76200 h 289560"/>
              <a:gd name="connsiteX33" fmla="*/ 2377440 w 8869680"/>
              <a:gd name="connsiteY33" fmla="*/ 76200 h 289560"/>
              <a:gd name="connsiteX34" fmla="*/ 2468880 w 8869680"/>
              <a:gd name="connsiteY34" fmla="*/ 99060 h 289560"/>
              <a:gd name="connsiteX35" fmla="*/ 2514600 w 8869680"/>
              <a:gd name="connsiteY35" fmla="*/ 7620 h 289560"/>
              <a:gd name="connsiteX36" fmla="*/ 2567940 w 8869680"/>
              <a:gd name="connsiteY36" fmla="*/ 53340 h 289560"/>
              <a:gd name="connsiteX37" fmla="*/ 2659380 w 8869680"/>
              <a:gd name="connsiteY37" fmla="*/ 45720 h 289560"/>
              <a:gd name="connsiteX38" fmla="*/ 2743200 w 8869680"/>
              <a:gd name="connsiteY38" fmla="*/ 60960 h 289560"/>
              <a:gd name="connsiteX39" fmla="*/ 2834640 w 8869680"/>
              <a:gd name="connsiteY39" fmla="*/ 76200 h 289560"/>
              <a:gd name="connsiteX40" fmla="*/ 2933700 w 8869680"/>
              <a:gd name="connsiteY40" fmla="*/ 38100 h 289560"/>
              <a:gd name="connsiteX41" fmla="*/ 2987040 w 8869680"/>
              <a:gd name="connsiteY41" fmla="*/ 83820 h 289560"/>
              <a:gd name="connsiteX42" fmla="*/ 3070860 w 8869680"/>
              <a:gd name="connsiteY42" fmla="*/ 15240 h 289560"/>
              <a:gd name="connsiteX43" fmla="*/ 3116580 w 8869680"/>
              <a:gd name="connsiteY43" fmla="*/ 38100 h 289560"/>
              <a:gd name="connsiteX44" fmla="*/ 3154680 w 8869680"/>
              <a:gd name="connsiteY44" fmla="*/ 15240 h 289560"/>
              <a:gd name="connsiteX45" fmla="*/ 3223260 w 8869680"/>
              <a:gd name="connsiteY45" fmla="*/ 0 h 289560"/>
              <a:gd name="connsiteX46" fmla="*/ 3299460 w 8869680"/>
              <a:gd name="connsiteY46" fmla="*/ 38100 h 289560"/>
              <a:gd name="connsiteX47" fmla="*/ 3406140 w 8869680"/>
              <a:gd name="connsiteY47" fmla="*/ 38100 h 289560"/>
              <a:gd name="connsiteX48" fmla="*/ 3436620 w 8869680"/>
              <a:gd name="connsiteY48" fmla="*/ 60960 h 289560"/>
              <a:gd name="connsiteX49" fmla="*/ 3489960 w 8869680"/>
              <a:gd name="connsiteY49" fmla="*/ 68580 h 289560"/>
              <a:gd name="connsiteX50" fmla="*/ 3528060 w 8869680"/>
              <a:gd name="connsiteY50" fmla="*/ 99060 h 289560"/>
              <a:gd name="connsiteX51" fmla="*/ 3619500 w 8869680"/>
              <a:gd name="connsiteY51" fmla="*/ 91440 h 289560"/>
              <a:gd name="connsiteX52" fmla="*/ 3764280 w 8869680"/>
              <a:gd name="connsiteY52" fmla="*/ 15240 h 289560"/>
              <a:gd name="connsiteX53" fmla="*/ 3863340 w 8869680"/>
              <a:gd name="connsiteY53" fmla="*/ 91440 h 289560"/>
              <a:gd name="connsiteX54" fmla="*/ 3970020 w 8869680"/>
              <a:gd name="connsiteY54" fmla="*/ 91440 h 289560"/>
              <a:gd name="connsiteX55" fmla="*/ 4000500 w 8869680"/>
              <a:gd name="connsiteY55" fmla="*/ 144780 h 289560"/>
              <a:gd name="connsiteX56" fmla="*/ 4000500 w 8869680"/>
              <a:gd name="connsiteY56" fmla="*/ 144780 h 289560"/>
              <a:gd name="connsiteX57" fmla="*/ 4099560 w 8869680"/>
              <a:gd name="connsiteY57" fmla="*/ 91440 h 289560"/>
              <a:gd name="connsiteX58" fmla="*/ 4175760 w 8869680"/>
              <a:gd name="connsiteY58" fmla="*/ 106680 h 289560"/>
              <a:gd name="connsiteX59" fmla="*/ 4290060 w 8869680"/>
              <a:gd name="connsiteY59" fmla="*/ 144780 h 289560"/>
              <a:gd name="connsiteX60" fmla="*/ 4351020 w 8869680"/>
              <a:gd name="connsiteY60" fmla="*/ 114300 h 289560"/>
              <a:gd name="connsiteX61" fmla="*/ 4411980 w 8869680"/>
              <a:gd name="connsiteY61" fmla="*/ 144780 h 289560"/>
              <a:gd name="connsiteX62" fmla="*/ 4511040 w 8869680"/>
              <a:gd name="connsiteY62" fmla="*/ 99060 h 289560"/>
              <a:gd name="connsiteX63" fmla="*/ 4541520 w 8869680"/>
              <a:gd name="connsiteY63" fmla="*/ 137160 h 289560"/>
              <a:gd name="connsiteX64" fmla="*/ 4572000 w 8869680"/>
              <a:gd name="connsiteY64" fmla="*/ 114300 h 289560"/>
              <a:gd name="connsiteX65" fmla="*/ 4693920 w 8869680"/>
              <a:gd name="connsiteY65" fmla="*/ 144780 h 289560"/>
              <a:gd name="connsiteX66" fmla="*/ 4785360 w 8869680"/>
              <a:gd name="connsiteY66" fmla="*/ 129540 h 289560"/>
              <a:gd name="connsiteX67" fmla="*/ 4892040 w 8869680"/>
              <a:gd name="connsiteY67" fmla="*/ 175260 h 289560"/>
              <a:gd name="connsiteX68" fmla="*/ 4922520 w 8869680"/>
              <a:gd name="connsiteY68" fmla="*/ 198120 h 289560"/>
              <a:gd name="connsiteX69" fmla="*/ 4968240 w 8869680"/>
              <a:gd name="connsiteY69" fmla="*/ 190500 h 289560"/>
              <a:gd name="connsiteX70" fmla="*/ 4998720 w 8869680"/>
              <a:gd name="connsiteY70" fmla="*/ 213360 h 289560"/>
              <a:gd name="connsiteX71" fmla="*/ 5067300 w 8869680"/>
              <a:gd name="connsiteY71" fmla="*/ 144780 h 289560"/>
              <a:gd name="connsiteX72" fmla="*/ 5135880 w 8869680"/>
              <a:gd name="connsiteY72" fmla="*/ 144780 h 289560"/>
              <a:gd name="connsiteX73" fmla="*/ 5196840 w 8869680"/>
              <a:gd name="connsiteY73" fmla="*/ 175260 h 289560"/>
              <a:gd name="connsiteX74" fmla="*/ 5250180 w 8869680"/>
              <a:gd name="connsiteY74" fmla="*/ 129540 h 289560"/>
              <a:gd name="connsiteX75" fmla="*/ 5295900 w 8869680"/>
              <a:gd name="connsiteY75" fmla="*/ 83820 h 289560"/>
              <a:gd name="connsiteX76" fmla="*/ 5387340 w 8869680"/>
              <a:gd name="connsiteY76" fmla="*/ 137160 h 289560"/>
              <a:gd name="connsiteX77" fmla="*/ 5471160 w 8869680"/>
              <a:gd name="connsiteY77" fmla="*/ 175260 h 289560"/>
              <a:gd name="connsiteX78" fmla="*/ 5516880 w 8869680"/>
              <a:gd name="connsiteY78" fmla="*/ 106680 h 289560"/>
              <a:gd name="connsiteX79" fmla="*/ 5562600 w 8869680"/>
              <a:gd name="connsiteY79" fmla="*/ 129540 h 289560"/>
              <a:gd name="connsiteX80" fmla="*/ 5615940 w 8869680"/>
              <a:gd name="connsiteY80" fmla="*/ 106680 h 289560"/>
              <a:gd name="connsiteX81" fmla="*/ 5669280 w 8869680"/>
              <a:gd name="connsiteY81" fmla="*/ 152400 h 289560"/>
              <a:gd name="connsiteX82" fmla="*/ 5737860 w 8869680"/>
              <a:gd name="connsiteY82" fmla="*/ 129540 h 289560"/>
              <a:gd name="connsiteX83" fmla="*/ 5775960 w 8869680"/>
              <a:gd name="connsiteY83" fmla="*/ 160020 h 289560"/>
              <a:gd name="connsiteX84" fmla="*/ 5844540 w 8869680"/>
              <a:gd name="connsiteY84" fmla="*/ 152400 h 289560"/>
              <a:gd name="connsiteX85" fmla="*/ 5958840 w 8869680"/>
              <a:gd name="connsiteY85" fmla="*/ 190500 h 289560"/>
              <a:gd name="connsiteX86" fmla="*/ 6012180 w 8869680"/>
              <a:gd name="connsiteY86" fmla="*/ 190500 h 289560"/>
              <a:gd name="connsiteX87" fmla="*/ 6027420 w 8869680"/>
              <a:gd name="connsiteY87" fmla="*/ 152400 h 289560"/>
              <a:gd name="connsiteX88" fmla="*/ 6073140 w 8869680"/>
              <a:gd name="connsiteY88" fmla="*/ 175260 h 289560"/>
              <a:gd name="connsiteX89" fmla="*/ 6103620 w 8869680"/>
              <a:gd name="connsiteY89" fmla="*/ 167640 h 289560"/>
              <a:gd name="connsiteX90" fmla="*/ 6141720 w 8869680"/>
              <a:gd name="connsiteY90" fmla="*/ 190500 h 289560"/>
              <a:gd name="connsiteX91" fmla="*/ 6225540 w 8869680"/>
              <a:gd name="connsiteY91" fmla="*/ 198120 h 289560"/>
              <a:gd name="connsiteX92" fmla="*/ 6309360 w 8869680"/>
              <a:gd name="connsiteY92" fmla="*/ 198120 h 289560"/>
              <a:gd name="connsiteX93" fmla="*/ 6362700 w 8869680"/>
              <a:gd name="connsiteY93" fmla="*/ 160020 h 289560"/>
              <a:gd name="connsiteX94" fmla="*/ 6416040 w 8869680"/>
              <a:gd name="connsiteY94" fmla="*/ 220980 h 289560"/>
              <a:gd name="connsiteX95" fmla="*/ 6492240 w 8869680"/>
              <a:gd name="connsiteY95" fmla="*/ 220980 h 289560"/>
              <a:gd name="connsiteX96" fmla="*/ 6545580 w 8869680"/>
              <a:gd name="connsiteY96" fmla="*/ 251460 h 289560"/>
              <a:gd name="connsiteX97" fmla="*/ 6621780 w 8869680"/>
              <a:gd name="connsiteY97" fmla="*/ 190500 h 289560"/>
              <a:gd name="connsiteX98" fmla="*/ 6675120 w 8869680"/>
              <a:gd name="connsiteY98" fmla="*/ 220980 h 289560"/>
              <a:gd name="connsiteX99" fmla="*/ 6781800 w 8869680"/>
              <a:gd name="connsiteY99" fmla="*/ 182880 h 289560"/>
              <a:gd name="connsiteX100" fmla="*/ 6835140 w 8869680"/>
              <a:gd name="connsiteY100" fmla="*/ 205740 h 289560"/>
              <a:gd name="connsiteX101" fmla="*/ 6896100 w 8869680"/>
              <a:gd name="connsiteY101" fmla="*/ 160020 h 289560"/>
              <a:gd name="connsiteX102" fmla="*/ 6957060 w 8869680"/>
              <a:gd name="connsiteY102" fmla="*/ 190500 h 289560"/>
              <a:gd name="connsiteX103" fmla="*/ 7002780 w 8869680"/>
              <a:gd name="connsiteY103" fmla="*/ 160020 h 289560"/>
              <a:gd name="connsiteX104" fmla="*/ 7056120 w 8869680"/>
              <a:gd name="connsiteY104" fmla="*/ 205740 h 289560"/>
              <a:gd name="connsiteX105" fmla="*/ 7132320 w 8869680"/>
              <a:gd name="connsiteY105" fmla="*/ 167640 h 289560"/>
              <a:gd name="connsiteX106" fmla="*/ 7185660 w 8869680"/>
              <a:gd name="connsiteY106" fmla="*/ 190500 h 289560"/>
              <a:gd name="connsiteX107" fmla="*/ 7284720 w 8869680"/>
              <a:gd name="connsiteY107" fmla="*/ 152400 h 289560"/>
              <a:gd name="connsiteX108" fmla="*/ 7368540 w 8869680"/>
              <a:gd name="connsiteY108" fmla="*/ 152400 h 289560"/>
              <a:gd name="connsiteX109" fmla="*/ 7482840 w 8869680"/>
              <a:gd name="connsiteY109" fmla="*/ 182880 h 289560"/>
              <a:gd name="connsiteX110" fmla="*/ 7513320 w 8869680"/>
              <a:gd name="connsiteY110" fmla="*/ 205740 h 289560"/>
              <a:gd name="connsiteX111" fmla="*/ 7597140 w 8869680"/>
              <a:gd name="connsiteY111" fmla="*/ 205740 h 289560"/>
              <a:gd name="connsiteX112" fmla="*/ 7726680 w 8869680"/>
              <a:gd name="connsiteY112" fmla="*/ 190500 h 289560"/>
              <a:gd name="connsiteX113" fmla="*/ 7780020 w 8869680"/>
              <a:gd name="connsiteY113" fmla="*/ 144780 h 289560"/>
              <a:gd name="connsiteX114" fmla="*/ 7848600 w 8869680"/>
              <a:gd name="connsiteY114" fmla="*/ 175260 h 289560"/>
              <a:gd name="connsiteX115" fmla="*/ 7909560 w 8869680"/>
              <a:gd name="connsiteY115" fmla="*/ 144780 h 289560"/>
              <a:gd name="connsiteX116" fmla="*/ 7985760 w 8869680"/>
              <a:gd name="connsiteY116" fmla="*/ 182880 h 289560"/>
              <a:gd name="connsiteX117" fmla="*/ 8001000 w 8869680"/>
              <a:gd name="connsiteY117" fmla="*/ 129540 h 289560"/>
              <a:gd name="connsiteX118" fmla="*/ 8092440 w 8869680"/>
              <a:gd name="connsiteY118" fmla="*/ 160020 h 289560"/>
              <a:gd name="connsiteX119" fmla="*/ 8092440 w 8869680"/>
              <a:gd name="connsiteY119" fmla="*/ 160020 h 289560"/>
              <a:gd name="connsiteX120" fmla="*/ 8145780 w 8869680"/>
              <a:gd name="connsiteY120" fmla="*/ 175260 h 289560"/>
              <a:gd name="connsiteX121" fmla="*/ 8260080 w 8869680"/>
              <a:gd name="connsiteY121" fmla="*/ 144780 h 289560"/>
              <a:gd name="connsiteX122" fmla="*/ 8351520 w 8869680"/>
              <a:gd name="connsiteY122" fmla="*/ 91440 h 289560"/>
              <a:gd name="connsiteX123" fmla="*/ 8404860 w 8869680"/>
              <a:gd name="connsiteY123" fmla="*/ 152400 h 289560"/>
              <a:gd name="connsiteX124" fmla="*/ 8404860 w 8869680"/>
              <a:gd name="connsiteY124" fmla="*/ 190500 h 289560"/>
              <a:gd name="connsiteX125" fmla="*/ 8465820 w 8869680"/>
              <a:gd name="connsiteY125" fmla="*/ 144780 h 289560"/>
              <a:gd name="connsiteX126" fmla="*/ 8511540 w 8869680"/>
              <a:gd name="connsiteY126" fmla="*/ 160020 h 289560"/>
              <a:gd name="connsiteX127" fmla="*/ 8557260 w 8869680"/>
              <a:gd name="connsiteY127" fmla="*/ 289560 h 289560"/>
              <a:gd name="connsiteX128" fmla="*/ 8633460 w 8869680"/>
              <a:gd name="connsiteY128" fmla="*/ 259080 h 289560"/>
              <a:gd name="connsiteX129" fmla="*/ 8686800 w 8869680"/>
              <a:gd name="connsiteY129" fmla="*/ 160020 h 289560"/>
              <a:gd name="connsiteX130" fmla="*/ 8724900 w 8869680"/>
              <a:gd name="connsiteY130" fmla="*/ 190500 h 289560"/>
              <a:gd name="connsiteX131" fmla="*/ 8785860 w 8869680"/>
              <a:gd name="connsiteY131" fmla="*/ 220980 h 289560"/>
              <a:gd name="connsiteX132" fmla="*/ 8816340 w 8869680"/>
              <a:gd name="connsiteY132" fmla="*/ 251460 h 289560"/>
              <a:gd name="connsiteX133" fmla="*/ 8869680 w 8869680"/>
              <a:gd name="connsiteY133" fmla="*/ 220980 h 289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8869680" h="289560">
                <a:moveTo>
                  <a:pt x="0" y="15240"/>
                </a:moveTo>
                <a:lnTo>
                  <a:pt x="60960" y="15240"/>
                </a:lnTo>
                <a:lnTo>
                  <a:pt x="190500" y="45720"/>
                </a:lnTo>
                <a:lnTo>
                  <a:pt x="251460" y="60960"/>
                </a:lnTo>
                <a:lnTo>
                  <a:pt x="350520" y="30480"/>
                </a:lnTo>
                <a:lnTo>
                  <a:pt x="464820" y="30480"/>
                </a:lnTo>
                <a:lnTo>
                  <a:pt x="495300" y="30480"/>
                </a:lnTo>
                <a:lnTo>
                  <a:pt x="541020" y="30480"/>
                </a:lnTo>
                <a:lnTo>
                  <a:pt x="647700" y="30480"/>
                </a:lnTo>
                <a:lnTo>
                  <a:pt x="807720" y="60960"/>
                </a:lnTo>
                <a:lnTo>
                  <a:pt x="929640" y="45720"/>
                </a:lnTo>
                <a:lnTo>
                  <a:pt x="1059180" y="60960"/>
                </a:lnTo>
                <a:lnTo>
                  <a:pt x="1112520" y="91440"/>
                </a:lnTo>
                <a:lnTo>
                  <a:pt x="1188720" y="60960"/>
                </a:lnTo>
                <a:lnTo>
                  <a:pt x="1234440" y="60960"/>
                </a:lnTo>
                <a:lnTo>
                  <a:pt x="1249680" y="114300"/>
                </a:lnTo>
                <a:lnTo>
                  <a:pt x="1318260" y="60960"/>
                </a:lnTo>
                <a:lnTo>
                  <a:pt x="1424940" y="76200"/>
                </a:lnTo>
                <a:lnTo>
                  <a:pt x="1546860" y="121920"/>
                </a:lnTo>
                <a:lnTo>
                  <a:pt x="1623060" y="68580"/>
                </a:lnTo>
                <a:lnTo>
                  <a:pt x="1706880" y="45720"/>
                </a:lnTo>
                <a:lnTo>
                  <a:pt x="1760220" y="76200"/>
                </a:lnTo>
                <a:lnTo>
                  <a:pt x="1821180" y="60960"/>
                </a:lnTo>
                <a:lnTo>
                  <a:pt x="1889760" y="60960"/>
                </a:lnTo>
                <a:lnTo>
                  <a:pt x="1973580" y="106680"/>
                </a:lnTo>
                <a:lnTo>
                  <a:pt x="2026920" y="68580"/>
                </a:lnTo>
                <a:lnTo>
                  <a:pt x="2103120" y="30480"/>
                </a:lnTo>
                <a:lnTo>
                  <a:pt x="2156460" y="60960"/>
                </a:lnTo>
                <a:lnTo>
                  <a:pt x="2194560" y="91440"/>
                </a:lnTo>
                <a:lnTo>
                  <a:pt x="2263140" y="53340"/>
                </a:lnTo>
                <a:lnTo>
                  <a:pt x="2301240" y="53340"/>
                </a:lnTo>
                <a:lnTo>
                  <a:pt x="2354580" y="68580"/>
                </a:lnTo>
                <a:lnTo>
                  <a:pt x="2377440" y="76200"/>
                </a:lnTo>
                <a:lnTo>
                  <a:pt x="2377440" y="76200"/>
                </a:lnTo>
                <a:lnTo>
                  <a:pt x="2468880" y="99060"/>
                </a:lnTo>
                <a:lnTo>
                  <a:pt x="2514600" y="7620"/>
                </a:lnTo>
                <a:lnTo>
                  <a:pt x="2567940" y="53340"/>
                </a:lnTo>
                <a:lnTo>
                  <a:pt x="2659380" y="45720"/>
                </a:lnTo>
                <a:lnTo>
                  <a:pt x="2743200" y="60960"/>
                </a:lnTo>
                <a:lnTo>
                  <a:pt x="2834640" y="76200"/>
                </a:lnTo>
                <a:lnTo>
                  <a:pt x="2933700" y="38100"/>
                </a:lnTo>
                <a:lnTo>
                  <a:pt x="2987040" y="83820"/>
                </a:lnTo>
                <a:lnTo>
                  <a:pt x="3070860" y="15240"/>
                </a:lnTo>
                <a:lnTo>
                  <a:pt x="3116580" y="38100"/>
                </a:lnTo>
                <a:lnTo>
                  <a:pt x="3154680" y="15240"/>
                </a:lnTo>
                <a:lnTo>
                  <a:pt x="3223260" y="0"/>
                </a:lnTo>
                <a:lnTo>
                  <a:pt x="3299460" y="38100"/>
                </a:lnTo>
                <a:lnTo>
                  <a:pt x="3406140" y="38100"/>
                </a:lnTo>
                <a:lnTo>
                  <a:pt x="3436620" y="60960"/>
                </a:lnTo>
                <a:lnTo>
                  <a:pt x="3489960" y="68580"/>
                </a:lnTo>
                <a:lnTo>
                  <a:pt x="3528060" y="99060"/>
                </a:lnTo>
                <a:lnTo>
                  <a:pt x="3619500" y="91440"/>
                </a:lnTo>
                <a:lnTo>
                  <a:pt x="3764280" y="15240"/>
                </a:lnTo>
                <a:lnTo>
                  <a:pt x="3863340" y="91440"/>
                </a:lnTo>
                <a:lnTo>
                  <a:pt x="3970020" y="91440"/>
                </a:lnTo>
                <a:lnTo>
                  <a:pt x="4000500" y="144780"/>
                </a:lnTo>
                <a:lnTo>
                  <a:pt x="4000500" y="144780"/>
                </a:lnTo>
                <a:lnTo>
                  <a:pt x="4099560" y="91440"/>
                </a:lnTo>
                <a:lnTo>
                  <a:pt x="4175760" y="106680"/>
                </a:lnTo>
                <a:lnTo>
                  <a:pt x="4290060" y="144780"/>
                </a:lnTo>
                <a:lnTo>
                  <a:pt x="4351020" y="114300"/>
                </a:lnTo>
                <a:lnTo>
                  <a:pt x="4411980" y="144780"/>
                </a:lnTo>
                <a:lnTo>
                  <a:pt x="4511040" y="99060"/>
                </a:lnTo>
                <a:lnTo>
                  <a:pt x="4541520" y="137160"/>
                </a:lnTo>
                <a:lnTo>
                  <a:pt x="4572000" y="114300"/>
                </a:lnTo>
                <a:lnTo>
                  <a:pt x="4693920" y="144780"/>
                </a:lnTo>
                <a:lnTo>
                  <a:pt x="4785360" y="129540"/>
                </a:lnTo>
                <a:lnTo>
                  <a:pt x="4892040" y="175260"/>
                </a:lnTo>
                <a:lnTo>
                  <a:pt x="4922520" y="198120"/>
                </a:lnTo>
                <a:lnTo>
                  <a:pt x="4968240" y="190500"/>
                </a:lnTo>
                <a:lnTo>
                  <a:pt x="4998720" y="213360"/>
                </a:lnTo>
                <a:lnTo>
                  <a:pt x="5067300" y="144780"/>
                </a:lnTo>
                <a:lnTo>
                  <a:pt x="5135880" y="144780"/>
                </a:lnTo>
                <a:lnTo>
                  <a:pt x="5196840" y="175260"/>
                </a:lnTo>
                <a:lnTo>
                  <a:pt x="5250180" y="129540"/>
                </a:lnTo>
                <a:lnTo>
                  <a:pt x="5295900" y="83820"/>
                </a:lnTo>
                <a:lnTo>
                  <a:pt x="5387340" y="137160"/>
                </a:lnTo>
                <a:lnTo>
                  <a:pt x="5471160" y="175260"/>
                </a:lnTo>
                <a:lnTo>
                  <a:pt x="5516880" y="106680"/>
                </a:lnTo>
                <a:lnTo>
                  <a:pt x="5562600" y="129540"/>
                </a:lnTo>
                <a:lnTo>
                  <a:pt x="5615940" y="106680"/>
                </a:lnTo>
                <a:lnTo>
                  <a:pt x="5669280" y="152400"/>
                </a:lnTo>
                <a:lnTo>
                  <a:pt x="5737860" y="129540"/>
                </a:lnTo>
                <a:lnTo>
                  <a:pt x="5775960" y="160020"/>
                </a:lnTo>
                <a:lnTo>
                  <a:pt x="5844540" y="152400"/>
                </a:lnTo>
                <a:lnTo>
                  <a:pt x="5958840" y="190500"/>
                </a:lnTo>
                <a:lnTo>
                  <a:pt x="6012180" y="190500"/>
                </a:lnTo>
                <a:lnTo>
                  <a:pt x="6027420" y="152400"/>
                </a:lnTo>
                <a:lnTo>
                  <a:pt x="6073140" y="175260"/>
                </a:lnTo>
                <a:lnTo>
                  <a:pt x="6103620" y="167640"/>
                </a:lnTo>
                <a:lnTo>
                  <a:pt x="6141720" y="190500"/>
                </a:lnTo>
                <a:lnTo>
                  <a:pt x="6225540" y="198120"/>
                </a:lnTo>
                <a:lnTo>
                  <a:pt x="6309360" y="198120"/>
                </a:lnTo>
                <a:lnTo>
                  <a:pt x="6362700" y="160020"/>
                </a:lnTo>
                <a:lnTo>
                  <a:pt x="6416040" y="220980"/>
                </a:lnTo>
                <a:lnTo>
                  <a:pt x="6492240" y="220980"/>
                </a:lnTo>
                <a:lnTo>
                  <a:pt x="6545580" y="251460"/>
                </a:lnTo>
                <a:lnTo>
                  <a:pt x="6621780" y="190500"/>
                </a:lnTo>
                <a:lnTo>
                  <a:pt x="6675120" y="220980"/>
                </a:lnTo>
                <a:lnTo>
                  <a:pt x="6781800" y="182880"/>
                </a:lnTo>
                <a:lnTo>
                  <a:pt x="6835140" y="205740"/>
                </a:lnTo>
                <a:lnTo>
                  <a:pt x="6896100" y="160020"/>
                </a:lnTo>
                <a:lnTo>
                  <a:pt x="6957060" y="190500"/>
                </a:lnTo>
                <a:lnTo>
                  <a:pt x="7002780" y="160020"/>
                </a:lnTo>
                <a:lnTo>
                  <a:pt x="7056120" y="205740"/>
                </a:lnTo>
                <a:lnTo>
                  <a:pt x="7132320" y="167640"/>
                </a:lnTo>
                <a:lnTo>
                  <a:pt x="7185660" y="190500"/>
                </a:lnTo>
                <a:lnTo>
                  <a:pt x="7284720" y="152400"/>
                </a:lnTo>
                <a:lnTo>
                  <a:pt x="7368540" y="152400"/>
                </a:lnTo>
                <a:lnTo>
                  <a:pt x="7482840" y="182880"/>
                </a:lnTo>
                <a:lnTo>
                  <a:pt x="7513320" y="205740"/>
                </a:lnTo>
                <a:lnTo>
                  <a:pt x="7597140" y="205740"/>
                </a:lnTo>
                <a:lnTo>
                  <a:pt x="7726680" y="190500"/>
                </a:lnTo>
                <a:lnTo>
                  <a:pt x="7780020" y="144780"/>
                </a:lnTo>
                <a:lnTo>
                  <a:pt x="7848600" y="175260"/>
                </a:lnTo>
                <a:lnTo>
                  <a:pt x="7909560" y="144780"/>
                </a:lnTo>
                <a:lnTo>
                  <a:pt x="7985760" y="182880"/>
                </a:lnTo>
                <a:lnTo>
                  <a:pt x="8001000" y="129540"/>
                </a:lnTo>
                <a:lnTo>
                  <a:pt x="8092440" y="160020"/>
                </a:lnTo>
                <a:lnTo>
                  <a:pt x="8092440" y="160020"/>
                </a:lnTo>
                <a:lnTo>
                  <a:pt x="8145780" y="175260"/>
                </a:lnTo>
                <a:lnTo>
                  <a:pt x="8260080" y="144780"/>
                </a:lnTo>
                <a:lnTo>
                  <a:pt x="8351520" y="91440"/>
                </a:lnTo>
                <a:lnTo>
                  <a:pt x="8404860" y="152400"/>
                </a:lnTo>
                <a:lnTo>
                  <a:pt x="8404860" y="190500"/>
                </a:lnTo>
                <a:lnTo>
                  <a:pt x="8465820" y="144780"/>
                </a:lnTo>
                <a:lnTo>
                  <a:pt x="8511540" y="160020"/>
                </a:lnTo>
                <a:lnTo>
                  <a:pt x="8557260" y="289560"/>
                </a:lnTo>
                <a:lnTo>
                  <a:pt x="8633460" y="259080"/>
                </a:lnTo>
                <a:lnTo>
                  <a:pt x="8686800" y="160020"/>
                </a:lnTo>
                <a:lnTo>
                  <a:pt x="8724900" y="190500"/>
                </a:lnTo>
                <a:lnTo>
                  <a:pt x="8785860" y="220980"/>
                </a:lnTo>
                <a:lnTo>
                  <a:pt x="8816340" y="251460"/>
                </a:lnTo>
                <a:lnTo>
                  <a:pt x="8869680" y="220980"/>
                </a:lnTo>
              </a:path>
            </a:pathLst>
          </a:cu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B3319103-892B-458E-A173-7F9E7B08D8BB}"/>
              </a:ext>
            </a:extLst>
          </p:cNvPr>
          <p:cNvSpPr/>
          <p:nvPr/>
        </p:nvSpPr>
        <p:spPr>
          <a:xfrm>
            <a:off x="1905000" y="3535680"/>
            <a:ext cx="8846820" cy="845820"/>
          </a:xfrm>
          <a:custGeom>
            <a:avLst/>
            <a:gdLst>
              <a:gd name="connsiteX0" fmla="*/ 0 w 8846820"/>
              <a:gd name="connsiteY0" fmla="*/ 0 h 845820"/>
              <a:gd name="connsiteX1" fmla="*/ 45720 w 8846820"/>
              <a:gd name="connsiteY1" fmla="*/ 38100 h 845820"/>
              <a:gd name="connsiteX2" fmla="*/ 129540 w 8846820"/>
              <a:gd name="connsiteY2" fmla="*/ 114300 h 845820"/>
              <a:gd name="connsiteX3" fmla="*/ 167640 w 8846820"/>
              <a:gd name="connsiteY3" fmla="*/ 53340 h 845820"/>
              <a:gd name="connsiteX4" fmla="*/ 243840 w 8846820"/>
              <a:gd name="connsiteY4" fmla="*/ 91440 h 845820"/>
              <a:gd name="connsiteX5" fmla="*/ 243840 w 8846820"/>
              <a:gd name="connsiteY5" fmla="*/ 175260 h 845820"/>
              <a:gd name="connsiteX6" fmla="*/ 320040 w 8846820"/>
              <a:gd name="connsiteY6" fmla="*/ 99060 h 845820"/>
              <a:gd name="connsiteX7" fmla="*/ 373380 w 8846820"/>
              <a:gd name="connsiteY7" fmla="*/ 91440 h 845820"/>
              <a:gd name="connsiteX8" fmla="*/ 441960 w 8846820"/>
              <a:gd name="connsiteY8" fmla="*/ 182880 h 845820"/>
              <a:gd name="connsiteX9" fmla="*/ 502920 w 8846820"/>
              <a:gd name="connsiteY9" fmla="*/ 137160 h 845820"/>
              <a:gd name="connsiteX10" fmla="*/ 563880 w 8846820"/>
              <a:gd name="connsiteY10" fmla="*/ 175260 h 845820"/>
              <a:gd name="connsiteX11" fmla="*/ 640080 w 8846820"/>
              <a:gd name="connsiteY11" fmla="*/ 167640 h 845820"/>
              <a:gd name="connsiteX12" fmla="*/ 678180 w 8846820"/>
              <a:gd name="connsiteY12" fmla="*/ 167640 h 845820"/>
              <a:gd name="connsiteX13" fmla="*/ 746760 w 8846820"/>
              <a:gd name="connsiteY13" fmla="*/ 144780 h 845820"/>
              <a:gd name="connsiteX14" fmla="*/ 838200 w 8846820"/>
              <a:gd name="connsiteY14" fmla="*/ 228600 h 845820"/>
              <a:gd name="connsiteX15" fmla="*/ 891540 w 8846820"/>
              <a:gd name="connsiteY15" fmla="*/ 251460 h 845820"/>
              <a:gd name="connsiteX16" fmla="*/ 944880 w 8846820"/>
              <a:gd name="connsiteY16" fmla="*/ 289560 h 845820"/>
              <a:gd name="connsiteX17" fmla="*/ 1059180 w 8846820"/>
              <a:gd name="connsiteY17" fmla="*/ 266700 h 845820"/>
              <a:gd name="connsiteX18" fmla="*/ 1120140 w 8846820"/>
              <a:gd name="connsiteY18" fmla="*/ 342900 h 845820"/>
              <a:gd name="connsiteX19" fmla="*/ 1196340 w 8846820"/>
              <a:gd name="connsiteY19" fmla="*/ 297180 h 845820"/>
              <a:gd name="connsiteX20" fmla="*/ 1264920 w 8846820"/>
              <a:gd name="connsiteY20" fmla="*/ 327660 h 845820"/>
              <a:gd name="connsiteX21" fmla="*/ 1295400 w 8846820"/>
              <a:gd name="connsiteY21" fmla="*/ 365760 h 845820"/>
              <a:gd name="connsiteX22" fmla="*/ 1310640 w 8846820"/>
              <a:gd name="connsiteY22" fmla="*/ 289560 h 845820"/>
              <a:gd name="connsiteX23" fmla="*/ 1379220 w 8846820"/>
              <a:gd name="connsiteY23" fmla="*/ 396240 h 845820"/>
              <a:gd name="connsiteX24" fmla="*/ 1463040 w 8846820"/>
              <a:gd name="connsiteY24" fmla="*/ 304800 h 845820"/>
              <a:gd name="connsiteX25" fmla="*/ 1501140 w 8846820"/>
              <a:gd name="connsiteY25" fmla="*/ 350520 h 845820"/>
              <a:gd name="connsiteX26" fmla="*/ 1539240 w 8846820"/>
              <a:gd name="connsiteY26" fmla="*/ 289560 h 845820"/>
              <a:gd name="connsiteX27" fmla="*/ 1592580 w 8846820"/>
              <a:gd name="connsiteY27" fmla="*/ 342900 h 845820"/>
              <a:gd name="connsiteX28" fmla="*/ 1676400 w 8846820"/>
              <a:gd name="connsiteY28" fmla="*/ 312420 h 845820"/>
              <a:gd name="connsiteX29" fmla="*/ 1729740 w 8846820"/>
              <a:gd name="connsiteY29" fmla="*/ 312420 h 845820"/>
              <a:gd name="connsiteX30" fmla="*/ 1767840 w 8846820"/>
              <a:gd name="connsiteY30" fmla="*/ 365760 h 845820"/>
              <a:gd name="connsiteX31" fmla="*/ 1851660 w 8846820"/>
              <a:gd name="connsiteY31" fmla="*/ 320040 h 845820"/>
              <a:gd name="connsiteX32" fmla="*/ 1927860 w 8846820"/>
              <a:gd name="connsiteY32" fmla="*/ 320040 h 845820"/>
              <a:gd name="connsiteX33" fmla="*/ 1981200 w 8846820"/>
              <a:gd name="connsiteY33" fmla="*/ 342900 h 845820"/>
              <a:gd name="connsiteX34" fmla="*/ 2034540 w 8846820"/>
              <a:gd name="connsiteY34" fmla="*/ 320040 h 845820"/>
              <a:gd name="connsiteX35" fmla="*/ 2118360 w 8846820"/>
              <a:gd name="connsiteY35" fmla="*/ 342900 h 845820"/>
              <a:gd name="connsiteX36" fmla="*/ 2141220 w 8846820"/>
              <a:gd name="connsiteY36" fmla="*/ 312420 h 845820"/>
              <a:gd name="connsiteX37" fmla="*/ 2171700 w 8846820"/>
              <a:gd name="connsiteY37" fmla="*/ 342900 h 845820"/>
              <a:gd name="connsiteX38" fmla="*/ 2286000 w 8846820"/>
              <a:gd name="connsiteY38" fmla="*/ 312420 h 845820"/>
              <a:gd name="connsiteX39" fmla="*/ 2301240 w 8846820"/>
              <a:gd name="connsiteY39" fmla="*/ 335280 h 845820"/>
              <a:gd name="connsiteX40" fmla="*/ 2354580 w 8846820"/>
              <a:gd name="connsiteY40" fmla="*/ 342900 h 845820"/>
              <a:gd name="connsiteX41" fmla="*/ 2369820 w 8846820"/>
              <a:gd name="connsiteY41" fmla="*/ 289560 h 845820"/>
              <a:gd name="connsiteX42" fmla="*/ 2491740 w 8846820"/>
              <a:gd name="connsiteY42" fmla="*/ 373380 h 845820"/>
              <a:gd name="connsiteX43" fmla="*/ 2583180 w 8846820"/>
              <a:gd name="connsiteY43" fmla="*/ 342900 h 845820"/>
              <a:gd name="connsiteX44" fmla="*/ 2735580 w 8846820"/>
              <a:gd name="connsiteY44" fmla="*/ 396240 h 845820"/>
              <a:gd name="connsiteX45" fmla="*/ 2811780 w 8846820"/>
              <a:gd name="connsiteY45" fmla="*/ 457200 h 845820"/>
              <a:gd name="connsiteX46" fmla="*/ 2849880 w 8846820"/>
              <a:gd name="connsiteY46" fmla="*/ 411480 h 845820"/>
              <a:gd name="connsiteX47" fmla="*/ 2895600 w 8846820"/>
              <a:gd name="connsiteY47" fmla="*/ 518160 h 845820"/>
              <a:gd name="connsiteX48" fmla="*/ 2948940 w 8846820"/>
              <a:gd name="connsiteY48" fmla="*/ 449580 h 845820"/>
              <a:gd name="connsiteX49" fmla="*/ 2994660 w 8846820"/>
              <a:gd name="connsiteY49" fmla="*/ 441960 h 845820"/>
              <a:gd name="connsiteX50" fmla="*/ 3063240 w 8846820"/>
              <a:gd name="connsiteY50" fmla="*/ 434340 h 845820"/>
              <a:gd name="connsiteX51" fmla="*/ 3131820 w 8846820"/>
              <a:gd name="connsiteY51" fmla="*/ 480060 h 845820"/>
              <a:gd name="connsiteX52" fmla="*/ 3223260 w 8846820"/>
              <a:gd name="connsiteY52" fmla="*/ 396240 h 845820"/>
              <a:gd name="connsiteX53" fmla="*/ 3314700 w 8846820"/>
              <a:gd name="connsiteY53" fmla="*/ 464820 h 845820"/>
              <a:gd name="connsiteX54" fmla="*/ 3421380 w 8846820"/>
              <a:gd name="connsiteY54" fmla="*/ 502920 h 845820"/>
              <a:gd name="connsiteX55" fmla="*/ 3444240 w 8846820"/>
              <a:gd name="connsiteY55" fmla="*/ 541020 h 845820"/>
              <a:gd name="connsiteX56" fmla="*/ 3558540 w 8846820"/>
              <a:gd name="connsiteY56" fmla="*/ 525780 h 845820"/>
              <a:gd name="connsiteX57" fmla="*/ 3657600 w 8846820"/>
              <a:gd name="connsiteY57" fmla="*/ 579120 h 845820"/>
              <a:gd name="connsiteX58" fmla="*/ 3733800 w 8846820"/>
              <a:gd name="connsiteY58" fmla="*/ 548640 h 845820"/>
              <a:gd name="connsiteX59" fmla="*/ 3870960 w 8846820"/>
              <a:gd name="connsiteY59" fmla="*/ 670560 h 845820"/>
              <a:gd name="connsiteX60" fmla="*/ 3947160 w 8846820"/>
              <a:gd name="connsiteY60" fmla="*/ 662940 h 845820"/>
              <a:gd name="connsiteX61" fmla="*/ 3992880 w 8846820"/>
              <a:gd name="connsiteY61" fmla="*/ 708660 h 845820"/>
              <a:gd name="connsiteX62" fmla="*/ 4084320 w 8846820"/>
              <a:gd name="connsiteY62" fmla="*/ 662940 h 845820"/>
              <a:gd name="connsiteX63" fmla="*/ 4145280 w 8846820"/>
              <a:gd name="connsiteY63" fmla="*/ 708660 h 845820"/>
              <a:gd name="connsiteX64" fmla="*/ 4168140 w 8846820"/>
              <a:gd name="connsiteY64" fmla="*/ 754380 h 845820"/>
              <a:gd name="connsiteX65" fmla="*/ 4229100 w 8846820"/>
              <a:gd name="connsiteY65" fmla="*/ 708660 h 845820"/>
              <a:gd name="connsiteX66" fmla="*/ 4236720 w 8846820"/>
              <a:gd name="connsiteY66" fmla="*/ 731520 h 845820"/>
              <a:gd name="connsiteX67" fmla="*/ 4305300 w 8846820"/>
              <a:gd name="connsiteY67" fmla="*/ 701040 h 845820"/>
              <a:gd name="connsiteX68" fmla="*/ 4366260 w 8846820"/>
              <a:gd name="connsiteY68" fmla="*/ 739140 h 845820"/>
              <a:gd name="connsiteX69" fmla="*/ 4434840 w 8846820"/>
              <a:gd name="connsiteY69" fmla="*/ 708660 h 845820"/>
              <a:gd name="connsiteX70" fmla="*/ 4450080 w 8846820"/>
              <a:gd name="connsiteY70" fmla="*/ 762000 h 845820"/>
              <a:gd name="connsiteX71" fmla="*/ 4488180 w 8846820"/>
              <a:gd name="connsiteY71" fmla="*/ 746760 h 845820"/>
              <a:gd name="connsiteX72" fmla="*/ 4556760 w 8846820"/>
              <a:gd name="connsiteY72" fmla="*/ 769620 h 845820"/>
              <a:gd name="connsiteX73" fmla="*/ 4602480 w 8846820"/>
              <a:gd name="connsiteY73" fmla="*/ 777240 h 845820"/>
              <a:gd name="connsiteX74" fmla="*/ 4686300 w 8846820"/>
              <a:gd name="connsiteY74" fmla="*/ 716280 h 845820"/>
              <a:gd name="connsiteX75" fmla="*/ 4747260 w 8846820"/>
              <a:gd name="connsiteY75" fmla="*/ 708660 h 845820"/>
              <a:gd name="connsiteX76" fmla="*/ 4808220 w 8846820"/>
              <a:gd name="connsiteY76" fmla="*/ 746760 h 845820"/>
              <a:gd name="connsiteX77" fmla="*/ 4831080 w 8846820"/>
              <a:gd name="connsiteY77" fmla="*/ 769620 h 845820"/>
              <a:gd name="connsiteX78" fmla="*/ 5074920 w 8846820"/>
              <a:gd name="connsiteY78" fmla="*/ 685800 h 845820"/>
              <a:gd name="connsiteX79" fmla="*/ 5158740 w 8846820"/>
              <a:gd name="connsiteY79" fmla="*/ 739140 h 845820"/>
              <a:gd name="connsiteX80" fmla="*/ 5227320 w 8846820"/>
              <a:gd name="connsiteY80" fmla="*/ 708660 h 845820"/>
              <a:gd name="connsiteX81" fmla="*/ 5265420 w 8846820"/>
              <a:gd name="connsiteY81" fmla="*/ 754380 h 845820"/>
              <a:gd name="connsiteX82" fmla="*/ 5303520 w 8846820"/>
              <a:gd name="connsiteY82" fmla="*/ 693420 h 845820"/>
              <a:gd name="connsiteX83" fmla="*/ 5372100 w 8846820"/>
              <a:gd name="connsiteY83" fmla="*/ 739140 h 845820"/>
              <a:gd name="connsiteX84" fmla="*/ 5433060 w 8846820"/>
              <a:gd name="connsiteY84" fmla="*/ 716280 h 845820"/>
              <a:gd name="connsiteX85" fmla="*/ 5509260 w 8846820"/>
              <a:gd name="connsiteY85" fmla="*/ 708660 h 845820"/>
              <a:gd name="connsiteX86" fmla="*/ 5532120 w 8846820"/>
              <a:gd name="connsiteY86" fmla="*/ 693420 h 845820"/>
              <a:gd name="connsiteX87" fmla="*/ 5608320 w 8846820"/>
              <a:gd name="connsiteY87" fmla="*/ 716280 h 845820"/>
              <a:gd name="connsiteX88" fmla="*/ 5676900 w 8846820"/>
              <a:gd name="connsiteY88" fmla="*/ 746760 h 845820"/>
              <a:gd name="connsiteX89" fmla="*/ 5768340 w 8846820"/>
              <a:gd name="connsiteY89" fmla="*/ 807720 h 845820"/>
              <a:gd name="connsiteX90" fmla="*/ 5829300 w 8846820"/>
              <a:gd name="connsiteY90" fmla="*/ 731520 h 845820"/>
              <a:gd name="connsiteX91" fmla="*/ 5852160 w 8846820"/>
              <a:gd name="connsiteY91" fmla="*/ 777240 h 845820"/>
              <a:gd name="connsiteX92" fmla="*/ 5928360 w 8846820"/>
              <a:gd name="connsiteY92" fmla="*/ 754380 h 845820"/>
              <a:gd name="connsiteX93" fmla="*/ 5989320 w 8846820"/>
              <a:gd name="connsiteY93" fmla="*/ 746760 h 845820"/>
              <a:gd name="connsiteX94" fmla="*/ 6035040 w 8846820"/>
              <a:gd name="connsiteY94" fmla="*/ 754380 h 845820"/>
              <a:gd name="connsiteX95" fmla="*/ 6103620 w 8846820"/>
              <a:gd name="connsiteY95" fmla="*/ 655320 h 845820"/>
              <a:gd name="connsiteX96" fmla="*/ 6141720 w 8846820"/>
              <a:gd name="connsiteY96" fmla="*/ 708660 h 845820"/>
              <a:gd name="connsiteX97" fmla="*/ 6195060 w 8846820"/>
              <a:gd name="connsiteY97" fmla="*/ 708660 h 845820"/>
              <a:gd name="connsiteX98" fmla="*/ 6256020 w 8846820"/>
              <a:gd name="connsiteY98" fmla="*/ 708660 h 845820"/>
              <a:gd name="connsiteX99" fmla="*/ 6355080 w 8846820"/>
              <a:gd name="connsiteY99" fmla="*/ 708660 h 845820"/>
              <a:gd name="connsiteX100" fmla="*/ 6393180 w 8846820"/>
              <a:gd name="connsiteY100" fmla="*/ 762000 h 845820"/>
              <a:gd name="connsiteX101" fmla="*/ 6499860 w 8846820"/>
              <a:gd name="connsiteY101" fmla="*/ 754380 h 845820"/>
              <a:gd name="connsiteX102" fmla="*/ 6576060 w 8846820"/>
              <a:gd name="connsiteY102" fmla="*/ 723900 h 845820"/>
              <a:gd name="connsiteX103" fmla="*/ 6606540 w 8846820"/>
              <a:gd name="connsiteY103" fmla="*/ 701040 h 845820"/>
              <a:gd name="connsiteX104" fmla="*/ 6682740 w 8846820"/>
              <a:gd name="connsiteY104" fmla="*/ 701040 h 845820"/>
              <a:gd name="connsiteX105" fmla="*/ 6774180 w 8846820"/>
              <a:gd name="connsiteY105" fmla="*/ 685800 h 845820"/>
              <a:gd name="connsiteX106" fmla="*/ 6804660 w 8846820"/>
              <a:gd name="connsiteY106" fmla="*/ 731520 h 845820"/>
              <a:gd name="connsiteX107" fmla="*/ 6896100 w 8846820"/>
              <a:gd name="connsiteY107" fmla="*/ 640080 h 845820"/>
              <a:gd name="connsiteX108" fmla="*/ 6949440 w 8846820"/>
              <a:gd name="connsiteY108" fmla="*/ 708660 h 845820"/>
              <a:gd name="connsiteX109" fmla="*/ 7078980 w 8846820"/>
              <a:gd name="connsiteY109" fmla="*/ 678180 h 845820"/>
              <a:gd name="connsiteX110" fmla="*/ 7147560 w 8846820"/>
              <a:gd name="connsiteY110" fmla="*/ 693420 h 845820"/>
              <a:gd name="connsiteX111" fmla="*/ 7200900 w 8846820"/>
              <a:gd name="connsiteY111" fmla="*/ 647700 h 845820"/>
              <a:gd name="connsiteX112" fmla="*/ 7231380 w 8846820"/>
              <a:gd name="connsiteY112" fmla="*/ 701040 h 845820"/>
              <a:gd name="connsiteX113" fmla="*/ 7307580 w 8846820"/>
              <a:gd name="connsiteY113" fmla="*/ 662940 h 845820"/>
              <a:gd name="connsiteX114" fmla="*/ 7353300 w 8846820"/>
              <a:gd name="connsiteY114" fmla="*/ 701040 h 845820"/>
              <a:gd name="connsiteX115" fmla="*/ 7391400 w 8846820"/>
              <a:gd name="connsiteY115" fmla="*/ 685800 h 845820"/>
              <a:gd name="connsiteX116" fmla="*/ 7429500 w 8846820"/>
              <a:gd name="connsiteY116" fmla="*/ 723900 h 845820"/>
              <a:gd name="connsiteX117" fmla="*/ 7490460 w 8846820"/>
              <a:gd name="connsiteY117" fmla="*/ 723900 h 845820"/>
              <a:gd name="connsiteX118" fmla="*/ 7543800 w 8846820"/>
              <a:gd name="connsiteY118" fmla="*/ 670560 h 845820"/>
              <a:gd name="connsiteX119" fmla="*/ 7680960 w 8846820"/>
              <a:gd name="connsiteY119" fmla="*/ 701040 h 845820"/>
              <a:gd name="connsiteX120" fmla="*/ 7764780 w 8846820"/>
              <a:gd name="connsiteY120" fmla="*/ 693420 h 845820"/>
              <a:gd name="connsiteX121" fmla="*/ 7818120 w 8846820"/>
              <a:gd name="connsiteY121" fmla="*/ 777240 h 845820"/>
              <a:gd name="connsiteX122" fmla="*/ 7871460 w 8846820"/>
              <a:gd name="connsiteY122" fmla="*/ 693420 h 845820"/>
              <a:gd name="connsiteX123" fmla="*/ 7917180 w 8846820"/>
              <a:gd name="connsiteY123" fmla="*/ 693420 h 845820"/>
              <a:gd name="connsiteX124" fmla="*/ 7978140 w 8846820"/>
              <a:gd name="connsiteY124" fmla="*/ 723900 h 845820"/>
              <a:gd name="connsiteX125" fmla="*/ 8031480 w 8846820"/>
              <a:gd name="connsiteY125" fmla="*/ 685800 h 845820"/>
              <a:gd name="connsiteX126" fmla="*/ 8084820 w 8846820"/>
              <a:gd name="connsiteY126" fmla="*/ 731520 h 845820"/>
              <a:gd name="connsiteX127" fmla="*/ 8199120 w 8846820"/>
              <a:gd name="connsiteY127" fmla="*/ 632460 h 845820"/>
              <a:gd name="connsiteX128" fmla="*/ 8244840 w 8846820"/>
              <a:gd name="connsiteY128" fmla="*/ 685800 h 845820"/>
              <a:gd name="connsiteX129" fmla="*/ 8351520 w 8846820"/>
              <a:gd name="connsiteY129" fmla="*/ 655320 h 845820"/>
              <a:gd name="connsiteX130" fmla="*/ 8420100 w 8846820"/>
              <a:gd name="connsiteY130" fmla="*/ 647700 h 845820"/>
              <a:gd name="connsiteX131" fmla="*/ 8496300 w 8846820"/>
              <a:gd name="connsiteY131" fmla="*/ 678180 h 845820"/>
              <a:gd name="connsiteX132" fmla="*/ 8519160 w 8846820"/>
              <a:gd name="connsiteY132" fmla="*/ 845820 h 845820"/>
              <a:gd name="connsiteX133" fmla="*/ 8587740 w 8846820"/>
              <a:gd name="connsiteY133" fmla="*/ 739140 h 845820"/>
              <a:gd name="connsiteX134" fmla="*/ 8633460 w 8846820"/>
              <a:gd name="connsiteY134" fmla="*/ 784860 h 845820"/>
              <a:gd name="connsiteX135" fmla="*/ 8724900 w 8846820"/>
              <a:gd name="connsiteY135" fmla="*/ 685800 h 845820"/>
              <a:gd name="connsiteX136" fmla="*/ 8801100 w 8846820"/>
              <a:gd name="connsiteY136" fmla="*/ 655320 h 845820"/>
              <a:gd name="connsiteX137" fmla="*/ 8846820 w 8846820"/>
              <a:gd name="connsiteY137" fmla="*/ 662940 h 845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8846820" h="845820">
                <a:moveTo>
                  <a:pt x="0" y="0"/>
                </a:moveTo>
                <a:lnTo>
                  <a:pt x="45720" y="38100"/>
                </a:lnTo>
                <a:lnTo>
                  <a:pt x="129540" y="114300"/>
                </a:lnTo>
                <a:lnTo>
                  <a:pt x="167640" y="53340"/>
                </a:lnTo>
                <a:lnTo>
                  <a:pt x="243840" y="91440"/>
                </a:lnTo>
                <a:lnTo>
                  <a:pt x="243840" y="175260"/>
                </a:lnTo>
                <a:lnTo>
                  <a:pt x="320040" y="99060"/>
                </a:lnTo>
                <a:lnTo>
                  <a:pt x="373380" y="91440"/>
                </a:lnTo>
                <a:lnTo>
                  <a:pt x="441960" y="182880"/>
                </a:lnTo>
                <a:lnTo>
                  <a:pt x="502920" y="137160"/>
                </a:lnTo>
                <a:lnTo>
                  <a:pt x="563880" y="175260"/>
                </a:lnTo>
                <a:lnTo>
                  <a:pt x="640080" y="167640"/>
                </a:lnTo>
                <a:lnTo>
                  <a:pt x="678180" y="167640"/>
                </a:lnTo>
                <a:lnTo>
                  <a:pt x="746760" y="144780"/>
                </a:lnTo>
                <a:lnTo>
                  <a:pt x="838200" y="228600"/>
                </a:lnTo>
                <a:lnTo>
                  <a:pt x="891540" y="251460"/>
                </a:lnTo>
                <a:lnTo>
                  <a:pt x="944880" y="289560"/>
                </a:lnTo>
                <a:lnTo>
                  <a:pt x="1059180" y="266700"/>
                </a:lnTo>
                <a:lnTo>
                  <a:pt x="1120140" y="342900"/>
                </a:lnTo>
                <a:lnTo>
                  <a:pt x="1196340" y="297180"/>
                </a:lnTo>
                <a:lnTo>
                  <a:pt x="1264920" y="327660"/>
                </a:lnTo>
                <a:lnTo>
                  <a:pt x="1295400" y="365760"/>
                </a:lnTo>
                <a:lnTo>
                  <a:pt x="1310640" y="289560"/>
                </a:lnTo>
                <a:lnTo>
                  <a:pt x="1379220" y="396240"/>
                </a:lnTo>
                <a:lnTo>
                  <a:pt x="1463040" y="304800"/>
                </a:lnTo>
                <a:lnTo>
                  <a:pt x="1501140" y="350520"/>
                </a:lnTo>
                <a:lnTo>
                  <a:pt x="1539240" y="289560"/>
                </a:lnTo>
                <a:lnTo>
                  <a:pt x="1592580" y="342900"/>
                </a:lnTo>
                <a:lnTo>
                  <a:pt x="1676400" y="312420"/>
                </a:lnTo>
                <a:lnTo>
                  <a:pt x="1729740" y="312420"/>
                </a:lnTo>
                <a:lnTo>
                  <a:pt x="1767840" y="365760"/>
                </a:lnTo>
                <a:lnTo>
                  <a:pt x="1851660" y="320040"/>
                </a:lnTo>
                <a:lnTo>
                  <a:pt x="1927860" y="320040"/>
                </a:lnTo>
                <a:lnTo>
                  <a:pt x="1981200" y="342900"/>
                </a:lnTo>
                <a:lnTo>
                  <a:pt x="2034540" y="320040"/>
                </a:lnTo>
                <a:lnTo>
                  <a:pt x="2118360" y="342900"/>
                </a:lnTo>
                <a:lnTo>
                  <a:pt x="2141220" y="312420"/>
                </a:lnTo>
                <a:lnTo>
                  <a:pt x="2171700" y="342900"/>
                </a:lnTo>
                <a:lnTo>
                  <a:pt x="2286000" y="312420"/>
                </a:lnTo>
                <a:lnTo>
                  <a:pt x="2301240" y="335280"/>
                </a:lnTo>
                <a:lnTo>
                  <a:pt x="2354580" y="342900"/>
                </a:lnTo>
                <a:lnTo>
                  <a:pt x="2369820" y="289560"/>
                </a:lnTo>
                <a:lnTo>
                  <a:pt x="2491740" y="373380"/>
                </a:lnTo>
                <a:lnTo>
                  <a:pt x="2583180" y="342900"/>
                </a:lnTo>
                <a:lnTo>
                  <a:pt x="2735580" y="396240"/>
                </a:lnTo>
                <a:lnTo>
                  <a:pt x="2811780" y="457200"/>
                </a:lnTo>
                <a:lnTo>
                  <a:pt x="2849880" y="411480"/>
                </a:lnTo>
                <a:lnTo>
                  <a:pt x="2895600" y="518160"/>
                </a:lnTo>
                <a:lnTo>
                  <a:pt x="2948940" y="449580"/>
                </a:lnTo>
                <a:lnTo>
                  <a:pt x="2994660" y="441960"/>
                </a:lnTo>
                <a:lnTo>
                  <a:pt x="3063240" y="434340"/>
                </a:lnTo>
                <a:lnTo>
                  <a:pt x="3131820" y="480060"/>
                </a:lnTo>
                <a:lnTo>
                  <a:pt x="3223260" y="396240"/>
                </a:lnTo>
                <a:lnTo>
                  <a:pt x="3314700" y="464820"/>
                </a:lnTo>
                <a:lnTo>
                  <a:pt x="3421380" y="502920"/>
                </a:lnTo>
                <a:lnTo>
                  <a:pt x="3444240" y="541020"/>
                </a:lnTo>
                <a:lnTo>
                  <a:pt x="3558540" y="525780"/>
                </a:lnTo>
                <a:lnTo>
                  <a:pt x="3657600" y="579120"/>
                </a:lnTo>
                <a:lnTo>
                  <a:pt x="3733800" y="548640"/>
                </a:lnTo>
                <a:lnTo>
                  <a:pt x="3870960" y="670560"/>
                </a:lnTo>
                <a:lnTo>
                  <a:pt x="3947160" y="662940"/>
                </a:lnTo>
                <a:lnTo>
                  <a:pt x="3992880" y="708660"/>
                </a:lnTo>
                <a:lnTo>
                  <a:pt x="4084320" y="662940"/>
                </a:lnTo>
                <a:lnTo>
                  <a:pt x="4145280" y="708660"/>
                </a:lnTo>
                <a:lnTo>
                  <a:pt x="4168140" y="754380"/>
                </a:lnTo>
                <a:lnTo>
                  <a:pt x="4229100" y="708660"/>
                </a:lnTo>
                <a:lnTo>
                  <a:pt x="4236720" y="731520"/>
                </a:lnTo>
                <a:lnTo>
                  <a:pt x="4305300" y="701040"/>
                </a:lnTo>
                <a:lnTo>
                  <a:pt x="4366260" y="739140"/>
                </a:lnTo>
                <a:lnTo>
                  <a:pt x="4434840" y="708660"/>
                </a:lnTo>
                <a:lnTo>
                  <a:pt x="4450080" y="762000"/>
                </a:lnTo>
                <a:lnTo>
                  <a:pt x="4488180" y="746760"/>
                </a:lnTo>
                <a:lnTo>
                  <a:pt x="4556760" y="769620"/>
                </a:lnTo>
                <a:lnTo>
                  <a:pt x="4602480" y="777240"/>
                </a:lnTo>
                <a:lnTo>
                  <a:pt x="4686300" y="716280"/>
                </a:lnTo>
                <a:lnTo>
                  <a:pt x="4747260" y="708660"/>
                </a:lnTo>
                <a:lnTo>
                  <a:pt x="4808220" y="746760"/>
                </a:lnTo>
                <a:lnTo>
                  <a:pt x="4831080" y="769620"/>
                </a:lnTo>
                <a:lnTo>
                  <a:pt x="5074920" y="685800"/>
                </a:lnTo>
                <a:lnTo>
                  <a:pt x="5158740" y="739140"/>
                </a:lnTo>
                <a:lnTo>
                  <a:pt x="5227320" y="708660"/>
                </a:lnTo>
                <a:lnTo>
                  <a:pt x="5265420" y="754380"/>
                </a:lnTo>
                <a:lnTo>
                  <a:pt x="5303520" y="693420"/>
                </a:lnTo>
                <a:lnTo>
                  <a:pt x="5372100" y="739140"/>
                </a:lnTo>
                <a:lnTo>
                  <a:pt x="5433060" y="716280"/>
                </a:lnTo>
                <a:lnTo>
                  <a:pt x="5509260" y="708660"/>
                </a:lnTo>
                <a:lnTo>
                  <a:pt x="5532120" y="693420"/>
                </a:lnTo>
                <a:lnTo>
                  <a:pt x="5608320" y="716280"/>
                </a:lnTo>
                <a:lnTo>
                  <a:pt x="5676900" y="746760"/>
                </a:lnTo>
                <a:lnTo>
                  <a:pt x="5768340" y="807720"/>
                </a:lnTo>
                <a:lnTo>
                  <a:pt x="5829300" y="731520"/>
                </a:lnTo>
                <a:lnTo>
                  <a:pt x="5852160" y="777240"/>
                </a:lnTo>
                <a:lnTo>
                  <a:pt x="5928360" y="754380"/>
                </a:lnTo>
                <a:lnTo>
                  <a:pt x="5989320" y="746760"/>
                </a:lnTo>
                <a:lnTo>
                  <a:pt x="6035040" y="754380"/>
                </a:lnTo>
                <a:lnTo>
                  <a:pt x="6103620" y="655320"/>
                </a:lnTo>
                <a:lnTo>
                  <a:pt x="6141720" y="708660"/>
                </a:lnTo>
                <a:lnTo>
                  <a:pt x="6195060" y="708660"/>
                </a:lnTo>
                <a:lnTo>
                  <a:pt x="6256020" y="708660"/>
                </a:lnTo>
                <a:lnTo>
                  <a:pt x="6355080" y="708660"/>
                </a:lnTo>
                <a:lnTo>
                  <a:pt x="6393180" y="762000"/>
                </a:lnTo>
                <a:lnTo>
                  <a:pt x="6499860" y="754380"/>
                </a:lnTo>
                <a:lnTo>
                  <a:pt x="6576060" y="723900"/>
                </a:lnTo>
                <a:lnTo>
                  <a:pt x="6606540" y="701040"/>
                </a:lnTo>
                <a:lnTo>
                  <a:pt x="6682740" y="701040"/>
                </a:lnTo>
                <a:lnTo>
                  <a:pt x="6774180" y="685800"/>
                </a:lnTo>
                <a:lnTo>
                  <a:pt x="6804660" y="731520"/>
                </a:lnTo>
                <a:lnTo>
                  <a:pt x="6896100" y="640080"/>
                </a:lnTo>
                <a:lnTo>
                  <a:pt x="6949440" y="708660"/>
                </a:lnTo>
                <a:lnTo>
                  <a:pt x="7078980" y="678180"/>
                </a:lnTo>
                <a:lnTo>
                  <a:pt x="7147560" y="693420"/>
                </a:lnTo>
                <a:lnTo>
                  <a:pt x="7200900" y="647700"/>
                </a:lnTo>
                <a:lnTo>
                  <a:pt x="7231380" y="701040"/>
                </a:lnTo>
                <a:lnTo>
                  <a:pt x="7307580" y="662940"/>
                </a:lnTo>
                <a:lnTo>
                  <a:pt x="7353300" y="701040"/>
                </a:lnTo>
                <a:lnTo>
                  <a:pt x="7391400" y="685800"/>
                </a:lnTo>
                <a:lnTo>
                  <a:pt x="7429500" y="723900"/>
                </a:lnTo>
                <a:lnTo>
                  <a:pt x="7490460" y="723900"/>
                </a:lnTo>
                <a:lnTo>
                  <a:pt x="7543800" y="670560"/>
                </a:lnTo>
                <a:lnTo>
                  <a:pt x="7680960" y="701040"/>
                </a:lnTo>
                <a:lnTo>
                  <a:pt x="7764780" y="693420"/>
                </a:lnTo>
                <a:lnTo>
                  <a:pt x="7818120" y="777240"/>
                </a:lnTo>
                <a:lnTo>
                  <a:pt x="7871460" y="693420"/>
                </a:lnTo>
                <a:lnTo>
                  <a:pt x="7917180" y="693420"/>
                </a:lnTo>
                <a:lnTo>
                  <a:pt x="7978140" y="723900"/>
                </a:lnTo>
                <a:lnTo>
                  <a:pt x="8031480" y="685800"/>
                </a:lnTo>
                <a:lnTo>
                  <a:pt x="8084820" y="731520"/>
                </a:lnTo>
                <a:lnTo>
                  <a:pt x="8199120" y="632460"/>
                </a:lnTo>
                <a:lnTo>
                  <a:pt x="8244840" y="685800"/>
                </a:lnTo>
                <a:lnTo>
                  <a:pt x="8351520" y="655320"/>
                </a:lnTo>
                <a:lnTo>
                  <a:pt x="8420100" y="647700"/>
                </a:lnTo>
                <a:lnTo>
                  <a:pt x="8496300" y="678180"/>
                </a:lnTo>
                <a:lnTo>
                  <a:pt x="8519160" y="845820"/>
                </a:lnTo>
                <a:lnTo>
                  <a:pt x="8587740" y="739140"/>
                </a:lnTo>
                <a:lnTo>
                  <a:pt x="8633460" y="784860"/>
                </a:lnTo>
                <a:lnTo>
                  <a:pt x="8724900" y="685800"/>
                </a:lnTo>
                <a:lnTo>
                  <a:pt x="8801100" y="655320"/>
                </a:lnTo>
                <a:lnTo>
                  <a:pt x="8846820" y="662940"/>
                </a:lnTo>
              </a:path>
            </a:pathLst>
          </a:cu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5FED91BE-C4AE-4D3A-939F-1EC02001D8D5}"/>
              </a:ext>
            </a:extLst>
          </p:cNvPr>
          <p:cNvSpPr/>
          <p:nvPr/>
        </p:nvSpPr>
        <p:spPr>
          <a:xfrm>
            <a:off x="1912620" y="3131820"/>
            <a:ext cx="8846820" cy="198120"/>
          </a:xfrm>
          <a:custGeom>
            <a:avLst/>
            <a:gdLst>
              <a:gd name="connsiteX0" fmla="*/ 0 w 8846820"/>
              <a:gd name="connsiteY0" fmla="*/ 22860 h 198120"/>
              <a:gd name="connsiteX1" fmla="*/ 83820 w 8846820"/>
              <a:gd name="connsiteY1" fmla="*/ 30480 h 198120"/>
              <a:gd name="connsiteX2" fmla="*/ 190500 w 8846820"/>
              <a:gd name="connsiteY2" fmla="*/ 38100 h 198120"/>
              <a:gd name="connsiteX3" fmla="*/ 312420 w 8846820"/>
              <a:gd name="connsiteY3" fmla="*/ 30480 h 198120"/>
              <a:gd name="connsiteX4" fmla="*/ 426720 w 8846820"/>
              <a:gd name="connsiteY4" fmla="*/ 30480 h 198120"/>
              <a:gd name="connsiteX5" fmla="*/ 472440 w 8846820"/>
              <a:gd name="connsiteY5" fmla="*/ 0 h 198120"/>
              <a:gd name="connsiteX6" fmla="*/ 579120 w 8846820"/>
              <a:gd name="connsiteY6" fmla="*/ 38100 h 198120"/>
              <a:gd name="connsiteX7" fmla="*/ 708660 w 8846820"/>
              <a:gd name="connsiteY7" fmla="*/ 30480 h 198120"/>
              <a:gd name="connsiteX8" fmla="*/ 792480 w 8846820"/>
              <a:gd name="connsiteY8" fmla="*/ 22860 h 198120"/>
              <a:gd name="connsiteX9" fmla="*/ 845820 w 8846820"/>
              <a:gd name="connsiteY9" fmla="*/ 22860 h 198120"/>
              <a:gd name="connsiteX10" fmla="*/ 937260 w 8846820"/>
              <a:gd name="connsiteY10" fmla="*/ 22860 h 198120"/>
              <a:gd name="connsiteX11" fmla="*/ 1051560 w 8846820"/>
              <a:gd name="connsiteY11" fmla="*/ 7620 h 198120"/>
              <a:gd name="connsiteX12" fmla="*/ 1104900 w 8846820"/>
              <a:gd name="connsiteY12" fmla="*/ 38100 h 198120"/>
              <a:gd name="connsiteX13" fmla="*/ 1150620 w 8846820"/>
              <a:gd name="connsiteY13" fmla="*/ 45720 h 198120"/>
              <a:gd name="connsiteX14" fmla="*/ 1264920 w 8846820"/>
              <a:gd name="connsiteY14" fmla="*/ 45720 h 198120"/>
              <a:gd name="connsiteX15" fmla="*/ 1356360 w 8846820"/>
              <a:gd name="connsiteY15" fmla="*/ 30480 h 198120"/>
              <a:gd name="connsiteX16" fmla="*/ 1424940 w 8846820"/>
              <a:gd name="connsiteY16" fmla="*/ 30480 h 198120"/>
              <a:gd name="connsiteX17" fmla="*/ 1516380 w 8846820"/>
              <a:gd name="connsiteY17" fmla="*/ 38100 h 198120"/>
              <a:gd name="connsiteX18" fmla="*/ 1592580 w 8846820"/>
              <a:gd name="connsiteY18" fmla="*/ 60960 h 198120"/>
              <a:gd name="connsiteX19" fmla="*/ 1821180 w 8846820"/>
              <a:gd name="connsiteY19" fmla="*/ 45720 h 198120"/>
              <a:gd name="connsiteX20" fmla="*/ 1889760 w 8846820"/>
              <a:gd name="connsiteY20" fmla="*/ 38100 h 198120"/>
              <a:gd name="connsiteX21" fmla="*/ 1988820 w 8846820"/>
              <a:gd name="connsiteY21" fmla="*/ 30480 h 198120"/>
              <a:gd name="connsiteX22" fmla="*/ 2110740 w 8846820"/>
              <a:gd name="connsiteY22" fmla="*/ 38100 h 198120"/>
              <a:gd name="connsiteX23" fmla="*/ 2232660 w 8846820"/>
              <a:gd name="connsiteY23" fmla="*/ 45720 h 198120"/>
              <a:gd name="connsiteX24" fmla="*/ 2377440 w 8846820"/>
              <a:gd name="connsiteY24" fmla="*/ 45720 h 198120"/>
              <a:gd name="connsiteX25" fmla="*/ 2423160 w 8846820"/>
              <a:gd name="connsiteY25" fmla="*/ 22860 h 198120"/>
              <a:gd name="connsiteX26" fmla="*/ 2499360 w 8846820"/>
              <a:gd name="connsiteY26" fmla="*/ 30480 h 198120"/>
              <a:gd name="connsiteX27" fmla="*/ 2606040 w 8846820"/>
              <a:gd name="connsiteY27" fmla="*/ 30480 h 198120"/>
              <a:gd name="connsiteX28" fmla="*/ 2727960 w 8846820"/>
              <a:gd name="connsiteY28" fmla="*/ 30480 h 198120"/>
              <a:gd name="connsiteX29" fmla="*/ 2796540 w 8846820"/>
              <a:gd name="connsiteY29" fmla="*/ 30480 h 198120"/>
              <a:gd name="connsiteX30" fmla="*/ 2903220 w 8846820"/>
              <a:gd name="connsiteY30" fmla="*/ 15240 h 198120"/>
              <a:gd name="connsiteX31" fmla="*/ 2979420 w 8846820"/>
              <a:gd name="connsiteY31" fmla="*/ 38100 h 198120"/>
              <a:gd name="connsiteX32" fmla="*/ 3063240 w 8846820"/>
              <a:gd name="connsiteY32" fmla="*/ 38100 h 198120"/>
              <a:gd name="connsiteX33" fmla="*/ 3124200 w 8846820"/>
              <a:gd name="connsiteY33" fmla="*/ 30480 h 198120"/>
              <a:gd name="connsiteX34" fmla="*/ 3192780 w 8846820"/>
              <a:gd name="connsiteY34" fmla="*/ 30480 h 198120"/>
              <a:gd name="connsiteX35" fmla="*/ 3299460 w 8846820"/>
              <a:gd name="connsiteY35" fmla="*/ 0 h 198120"/>
              <a:gd name="connsiteX36" fmla="*/ 3337560 w 8846820"/>
              <a:gd name="connsiteY36" fmla="*/ 0 h 198120"/>
              <a:gd name="connsiteX37" fmla="*/ 3421380 w 8846820"/>
              <a:gd name="connsiteY37" fmla="*/ 22860 h 198120"/>
              <a:gd name="connsiteX38" fmla="*/ 3505200 w 8846820"/>
              <a:gd name="connsiteY38" fmla="*/ 7620 h 198120"/>
              <a:gd name="connsiteX39" fmla="*/ 3611880 w 8846820"/>
              <a:gd name="connsiteY39" fmla="*/ 7620 h 198120"/>
              <a:gd name="connsiteX40" fmla="*/ 3695700 w 8846820"/>
              <a:gd name="connsiteY40" fmla="*/ 7620 h 198120"/>
              <a:gd name="connsiteX41" fmla="*/ 3810000 w 8846820"/>
              <a:gd name="connsiteY41" fmla="*/ 38100 h 198120"/>
              <a:gd name="connsiteX42" fmla="*/ 3878580 w 8846820"/>
              <a:gd name="connsiteY42" fmla="*/ 38100 h 198120"/>
              <a:gd name="connsiteX43" fmla="*/ 3954780 w 8846820"/>
              <a:gd name="connsiteY43" fmla="*/ 68580 h 198120"/>
              <a:gd name="connsiteX44" fmla="*/ 4023360 w 8846820"/>
              <a:gd name="connsiteY44" fmla="*/ 30480 h 198120"/>
              <a:gd name="connsiteX45" fmla="*/ 4114800 w 8846820"/>
              <a:gd name="connsiteY45" fmla="*/ 30480 h 198120"/>
              <a:gd name="connsiteX46" fmla="*/ 4221480 w 8846820"/>
              <a:gd name="connsiteY46" fmla="*/ 53340 h 198120"/>
              <a:gd name="connsiteX47" fmla="*/ 4312920 w 8846820"/>
              <a:gd name="connsiteY47" fmla="*/ 53340 h 198120"/>
              <a:gd name="connsiteX48" fmla="*/ 4366260 w 8846820"/>
              <a:gd name="connsiteY48" fmla="*/ 22860 h 198120"/>
              <a:gd name="connsiteX49" fmla="*/ 4434840 w 8846820"/>
              <a:gd name="connsiteY49" fmla="*/ 38100 h 198120"/>
              <a:gd name="connsiteX50" fmla="*/ 4533900 w 8846820"/>
              <a:gd name="connsiteY50" fmla="*/ 38100 h 198120"/>
              <a:gd name="connsiteX51" fmla="*/ 4572000 w 8846820"/>
              <a:gd name="connsiteY51" fmla="*/ 60960 h 198120"/>
              <a:gd name="connsiteX52" fmla="*/ 4739640 w 8846820"/>
              <a:gd name="connsiteY52" fmla="*/ 60960 h 198120"/>
              <a:gd name="connsiteX53" fmla="*/ 4823460 w 8846820"/>
              <a:gd name="connsiteY53" fmla="*/ 91440 h 198120"/>
              <a:gd name="connsiteX54" fmla="*/ 4907280 w 8846820"/>
              <a:gd name="connsiteY54" fmla="*/ 76200 h 198120"/>
              <a:gd name="connsiteX55" fmla="*/ 5013960 w 8846820"/>
              <a:gd name="connsiteY55" fmla="*/ 83820 h 198120"/>
              <a:gd name="connsiteX56" fmla="*/ 5090160 w 8846820"/>
              <a:gd name="connsiteY56" fmla="*/ 83820 h 198120"/>
              <a:gd name="connsiteX57" fmla="*/ 5250180 w 8846820"/>
              <a:gd name="connsiteY57" fmla="*/ 91440 h 198120"/>
              <a:gd name="connsiteX58" fmla="*/ 5250180 w 8846820"/>
              <a:gd name="connsiteY58" fmla="*/ 91440 h 198120"/>
              <a:gd name="connsiteX59" fmla="*/ 5402580 w 8846820"/>
              <a:gd name="connsiteY59" fmla="*/ 114300 h 198120"/>
              <a:gd name="connsiteX60" fmla="*/ 5486400 w 8846820"/>
              <a:gd name="connsiteY60" fmla="*/ 106680 h 198120"/>
              <a:gd name="connsiteX61" fmla="*/ 5585460 w 8846820"/>
              <a:gd name="connsiteY61" fmla="*/ 106680 h 198120"/>
              <a:gd name="connsiteX62" fmla="*/ 5646420 w 8846820"/>
              <a:gd name="connsiteY62" fmla="*/ 121920 h 198120"/>
              <a:gd name="connsiteX63" fmla="*/ 5806440 w 8846820"/>
              <a:gd name="connsiteY63" fmla="*/ 99060 h 198120"/>
              <a:gd name="connsiteX64" fmla="*/ 5867400 w 8846820"/>
              <a:gd name="connsiteY64" fmla="*/ 114300 h 198120"/>
              <a:gd name="connsiteX65" fmla="*/ 6050280 w 8846820"/>
              <a:gd name="connsiteY65" fmla="*/ 114300 h 198120"/>
              <a:gd name="connsiteX66" fmla="*/ 6195060 w 8846820"/>
              <a:gd name="connsiteY66" fmla="*/ 114300 h 198120"/>
              <a:gd name="connsiteX67" fmla="*/ 6286500 w 8846820"/>
              <a:gd name="connsiteY67" fmla="*/ 121920 h 198120"/>
              <a:gd name="connsiteX68" fmla="*/ 6316980 w 8846820"/>
              <a:gd name="connsiteY68" fmla="*/ 121920 h 198120"/>
              <a:gd name="connsiteX69" fmla="*/ 6446520 w 8846820"/>
              <a:gd name="connsiteY69" fmla="*/ 137160 h 198120"/>
              <a:gd name="connsiteX70" fmla="*/ 6477000 w 8846820"/>
              <a:gd name="connsiteY70" fmla="*/ 129540 h 198120"/>
              <a:gd name="connsiteX71" fmla="*/ 6507480 w 8846820"/>
              <a:gd name="connsiteY71" fmla="*/ 129540 h 198120"/>
              <a:gd name="connsiteX72" fmla="*/ 6606540 w 8846820"/>
              <a:gd name="connsiteY72" fmla="*/ 129540 h 198120"/>
              <a:gd name="connsiteX73" fmla="*/ 6682740 w 8846820"/>
              <a:gd name="connsiteY73" fmla="*/ 121920 h 198120"/>
              <a:gd name="connsiteX74" fmla="*/ 6720840 w 8846820"/>
              <a:gd name="connsiteY74" fmla="*/ 106680 h 198120"/>
              <a:gd name="connsiteX75" fmla="*/ 6903720 w 8846820"/>
              <a:gd name="connsiteY75" fmla="*/ 144780 h 198120"/>
              <a:gd name="connsiteX76" fmla="*/ 6979920 w 8846820"/>
              <a:gd name="connsiteY76" fmla="*/ 114300 h 198120"/>
              <a:gd name="connsiteX77" fmla="*/ 7063740 w 8846820"/>
              <a:gd name="connsiteY77" fmla="*/ 137160 h 198120"/>
              <a:gd name="connsiteX78" fmla="*/ 7223760 w 8846820"/>
              <a:gd name="connsiteY78" fmla="*/ 83820 h 198120"/>
              <a:gd name="connsiteX79" fmla="*/ 7299960 w 8846820"/>
              <a:gd name="connsiteY79" fmla="*/ 114300 h 198120"/>
              <a:gd name="connsiteX80" fmla="*/ 7360920 w 8846820"/>
              <a:gd name="connsiteY80" fmla="*/ 114300 h 198120"/>
              <a:gd name="connsiteX81" fmla="*/ 7482840 w 8846820"/>
              <a:gd name="connsiteY81" fmla="*/ 137160 h 198120"/>
              <a:gd name="connsiteX82" fmla="*/ 7559040 w 8846820"/>
              <a:gd name="connsiteY82" fmla="*/ 106680 h 198120"/>
              <a:gd name="connsiteX83" fmla="*/ 7635240 w 8846820"/>
              <a:gd name="connsiteY83" fmla="*/ 106680 h 198120"/>
              <a:gd name="connsiteX84" fmla="*/ 7703820 w 8846820"/>
              <a:gd name="connsiteY84" fmla="*/ 106680 h 198120"/>
              <a:gd name="connsiteX85" fmla="*/ 7917180 w 8846820"/>
              <a:gd name="connsiteY85" fmla="*/ 114300 h 198120"/>
              <a:gd name="connsiteX86" fmla="*/ 8069580 w 8846820"/>
              <a:gd name="connsiteY86" fmla="*/ 91440 h 198120"/>
              <a:gd name="connsiteX87" fmla="*/ 8221980 w 8846820"/>
              <a:gd name="connsiteY87" fmla="*/ 114300 h 198120"/>
              <a:gd name="connsiteX88" fmla="*/ 8328660 w 8846820"/>
              <a:gd name="connsiteY88" fmla="*/ 76200 h 198120"/>
              <a:gd name="connsiteX89" fmla="*/ 8412480 w 8846820"/>
              <a:gd name="connsiteY89" fmla="*/ 76200 h 198120"/>
              <a:gd name="connsiteX90" fmla="*/ 8549640 w 8846820"/>
              <a:gd name="connsiteY90" fmla="*/ 198120 h 198120"/>
              <a:gd name="connsiteX91" fmla="*/ 8671560 w 8846820"/>
              <a:gd name="connsiteY91" fmla="*/ 152400 h 198120"/>
              <a:gd name="connsiteX92" fmla="*/ 8702040 w 8846820"/>
              <a:gd name="connsiteY92" fmla="*/ 190500 h 198120"/>
              <a:gd name="connsiteX93" fmla="*/ 8846820 w 8846820"/>
              <a:gd name="connsiteY93" fmla="*/ 167640 h 198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8846820" h="198120">
                <a:moveTo>
                  <a:pt x="0" y="22860"/>
                </a:moveTo>
                <a:lnTo>
                  <a:pt x="83820" y="30480"/>
                </a:lnTo>
                <a:lnTo>
                  <a:pt x="190500" y="38100"/>
                </a:lnTo>
                <a:lnTo>
                  <a:pt x="312420" y="30480"/>
                </a:lnTo>
                <a:lnTo>
                  <a:pt x="426720" y="30480"/>
                </a:lnTo>
                <a:lnTo>
                  <a:pt x="472440" y="0"/>
                </a:lnTo>
                <a:lnTo>
                  <a:pt x="579120" y="38100"/>
                </a:lnTo>
                <a:lnTo>
                  <a:pt x="708660" y="30480"/>
                </a:lnTo>
                <a:lnTo>
                  <a:pt x="792480" y="22860"/>
                </a:lnTo>
                <a:lnTo>
                  <a:pt x="845820" y="22860"/>
                </a:lnTo>
                <a:lnTo>
                  <a:pt x="937260" y="22860"/>
                </a:lnTo>
                <a:lnTo>
                  <a:pt x="1051560" y="7620"/>
                </a:lnTo>
                <a:lnTo>
                  <a:pt x="1104900" y="38100"/>
                </a:lnTo>
                <a:lnTo>
                  <a:pt x="1150620" y="45720"/>
                </a:lnTo>
                <a:lnTo>
                  <a:pt x="1264920" y="45720"/>
                </a:lnTo>
                <a:lnTo>
                  <a:pt x="1356360" y="30480"/>
                </a:lnTo>
                <a:lnTo>
                  <a:pt x="1424940" y="30480"/>
                </a:lnTo>
                <a:lnTo>
                  <a:pt x="1516380" y="38100"/>
                </a:lnTo>
                <a:lnTo>
                  <a:pt x="1592580" y="60960"/>
                </a:lnTo>
                <a:lnTo>
                  <a:pt x="1821180" y="45720"/>
                </a:lnTo>
                <a:lnTo>
                  <a:pt x="1889760" y="38100"/>
                </a:lnTo>
                <a:lnTo>
                  <a:pt x="1988820" y="30480"/>
                </a:lnTo>
                <a:lnTo>
                  <a:pt x="2110740" y="38100"/>
                </a:lnTo>
                <a:lnTo>
                  <a:pt x="2232660" y="45720"/>
                </a:lnTo>
                <a:lnTo>
                  <a:pt x="2377440" y="45720"/>
                </a:lnTo>
                <a:lnTo>
                  <a:pt x="2423160" y="22860"/>
                </a:lnTo>
                <a:lnTo>
                  <a:pt x="2499360" y="30480"/>
                </a:lnTo>
                <a:lnTo>
                  <a:pt x="2606040" y="30480"/>
                </a:lnTo>
                <a:lnTo>
                  <a:pt x="2727960" y="30480"/>
                </a:lnTo>
                <a:lnTo>
                  <a:pt x="2796540" y="30480"/>
                </a:lnTo>
                <a:lnTo>
                  <a:pt x="2903220" y="15240"/>
                </a:lnTo>
                <a:lnTo>
                  <a:pt x="2979420" y="38100"/>
                </a:lnTo>
                <a:lnTo>
                  <a:pt x="3063240" y="38100"/>
                </a:lnTo>
                <a:lnTo>
                  <a:pt x="3124200" y="30480"/>
                </a:lnTo>
                <a:lnTo>
                  <a:pt x="3192780" y="30480"/>
                </a:lnTo>
                <a:lnTo>
                  <a:pt x="3299460" y="0"/>
                </a:lnTo>
                <a:lnTo>
                  <a:pt x="3337560" y="0"/>
                </a:lnTo>
                <a:lnTo>
                  <a:pt x="3421380" y="22860"/>
                </a:lnTo>
                <a:lnTo>
                  <a:pt x="3505200" y="7620"/>
                </a:lnTo>
                <a:lnTo>
                  <a:pt x="3611880" y="7620"/>
                </a:lnTo>
                <a:lnTo>
                  <a:pt x="3695700" y="7620"/>
                </a:lnTo>
                <a:lnTo>
                  <a:pt x="3810000" y="38100"/>
                </a:lnTo>
                <a:lnTo>
                  <a:pt x="3878580" y="38100"/>
                </a:lnTo>
                <a:lnTo>
                  <a:pt x="3954780" y="68580"/>
                </a:lnTo>
                <a:lnTo>
                  <a:pt x="4023360" y="30480"/>
                </a:lnTo>
                <a:lnTo>
                  <a:pt x="4114800" y="30480"/>
                </a:lnTo>
                <a:lnTo>
                  <a:pt x="4221480" y="53340"/>
                </a:lnTo>
                <a:lnTo>
                  <a:pt x="4312920" y="53340"/>
                </a:lnTo>
                <a:lnTo>
                  <a:pt x="4366260" y="22860"/>
                </a:lnTo>
                <a:lnTo>
                  <a:pt x="4434840" y="38100"/>
                </a:lnTo>
                <a:lnTo>
                  <a:pt x="4533900" y="38100"/>
                </a:lnTo>
                <a:lnTo>
                  <a:pt x="4572000" y="60960"/>
                </a:lnTo>
                <a:lnTo>
                  <a:pt x="4739640" y="60960"/>
                </a:lnTo>
                <a:lnTo>
                  <a:pt x="4823460" y="91440"/>
                </a:lnTo>
                <a:lnTo>
                  <a:pt x="4907280" y="76200"/>
                </a:lnTo>
                <a:lnTo>
                  <a:pt x="5013960" y="83820"/>
                </a:lnTo>
                <a:lnTo>
                  <a:pt x="5090160" y="83820"/>
                </a:lnTo>
                <a:lnTo>
                  <a:pt x="5250180" y="91440"/>
                </a:lnTo>
                <a:lnTo>
                  <a:pt x="5250180" y="91440"/>
                </a:lnTo>
                <a:lnTo>
                  <a:pt x="5402580" y="114300"/>
                </a:lnTo>
                <a:lnTo>
                  <a:pt x="5486400" y="106680"/>
                </a:lnTo>
                <a:lnTo>
                  <a:pt x="5585460" y="106680"/>
                </a:lnTo>
                <a:lnTo>
                  <a:pt x="5646420" y="121920"/>
                </a:lnTo>
                <a:lnTo>
                  <a:pt x="5806440" y="99060"/>
                </a:lnTo>
                <a:lnTo>
                  <a:pt x="5867400" y="114300"/>
                </a:lnTo>
                <a:lnTo>
                  <a:pt x="6050280" y="114300"/>
                </a:lnTo>
                <a:lnTo>
                  <a:pt x="6195060" y="114300"/>
                </a:lnTo>
                <a:lnTo>
                  <a:pt x="6286500" y="121920"/>
                </a:lnTo>
                <a:lnTo>
                  <a:pt x="6316980" y="121920"/>
                </a:lnTo>
                <a:lnTo>
                  <a:pt x="6446520" y="137160"/>
                </a:lnTo>
                <a:lnTo>
                  <a:pt x="6477000" y="129540"/>
                </a:lnTo>
                <a:lnTo>
                  <a:pt x="6507480" y="129540"/>
                </a:lnTo>
                <a:lnTo>
                  <a:pt x="6606540" y="129540"/>
                </a:lnTo>
                <a:lnTo>
                  <a:pt x="6682740" y="121920"/>
                </a:lnTo>
                <a:lnTo>
                  <a:pt x="6720840" y="106680"/>
                </a:lnTo>
                <a:lnTo>
                  <a:pt x="6903720" y="144780"/>
                </a:lnTo>
                <a:lnTo>
                  <a:pt x="6979920" y="114300"/>
                </a:lnTo>
                <a:lnTo>
                  <a:pt x="7063740" y="137160"/>
                </a:lnTo>
                <a:lnTo>
                  <a:pt x="7223760" y="83820"/>
                </a:lnTo>
                <a:lnTo>
                  <a:pt x="7299960" y="114300"/>
                </a:lnTo>
                <a:lnTo>
                  <a:pt x="7360920" y="114300"/>
                </a:lnTo>
                <a:lnTo>
                  <a:pt x="7482840" y="137160"/>
                </a:lnTo>
                <a:lnTo>
                  <a:pt x="7559040" y="106680"/>
                </a:lnTo>
                <a:lnTo>
                  <a:pt x="7635240" y="106680"/>
                </a:lnTo>
                <a:lnTo>
                  <a:pt x="7703820" y="106680"/>
                </a:lnTo>
                <a:lnTo>
                  <a:pt x="7917180" y="114300"/>
                </a:lnTo>
                <a:lnTo>
                  <a:pt x="8069580" y="91440"/>
                </a:lnTo>
                <a:lnTo>
                  <a:pt x="8221980" y="114300"/>
                </a:lnTo>
                <a:lnTo>
                  <a:pt x="8328660" y="76200"/>
                </a:lnTo>
                <a:lnTo>
                  <a:pt x="8412480" y="76200"/>
                </a:lnTo>
                <a:lnTo>
                  <a:pt x="8549640" y="198120"/>
                </a:lnTo>
                <a:lnTo>
                  <a:pt x="8671560" y="152400"/>
                </a:lnTo>
                <a:lnTo>
                  <a:pt x="8702040" y="190500"/>
                </a:lnTo>
                <a:lnTo>
                  <a:pt x="8846820" y="167640"/>
                </a:lnTo>
              </a:path>
            </a:pathLst>
          </a:cu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08B92BA8-EB34-4536-B57C-C4F50066C114}"/>
              </a:ext>
            </a:extLst>
          </p:cNvPr>
          <p:cNvSpPr/>
          <p:nvPr/>
        </p:nvSpPr>
        <p:spPr>
          <a:xfrm>
            <a:off x="1905000" y="2468880"/>
            <a:ext cx="8854440" cy="358140"/>
          </a:xfrm>
          <a:custGeom>
            <a:avLst/>
            <a:gdLst>
              <a:gd name="connsiteX0" fmla="*/ 0 w 8854440"/>
              <a:gd name="connsiteY0" fmla="*/ 0 h 358140"/>
              <a:gd name="connsiteX1" fmla="*/ 205740 w 8854440"/>
              <a:gd name="connsiteY1" fmla="*/ 30480 h 358140"/>
              <a:gd name="connsiteX2" fmla="*/ 312420 w 8854440"/>
              <a:gd name="connsiteY2" fmla="*/ 7620 h 358140"/>
              <a:gd name="connsiteX3" fmla="*/ 396240 w 8854440"/>
              <a:gd name="connsiteY3" fmla="*/ 22860 h 358140"/>
              <a:gd name="connsiteX4" fmla="*/ 480060 w 8854440"/>
              <a:gd name="connsiteY4" fmla="*/ 30480 h 358140"/>
              <a:gd name="connsiteX5" fmla="*/ 594360 w 8854440"/>
              <a:gd name="connsiteY5" fmla="*/ 0 h 358140"/>
              <a:gd name="connsiteX6" fmla="*/ 640080 w 8854440"/>
              <a:gd name="connsiteY6" fmla="*/ 22860 h 358140"/>
              <a:gd name="connsiteX7" fmla="*/ 731520 w 8854440"/>
              <a:gd name="connsiteY7" fmla="*/ 7620 h 358140"/>
              <a:gd name="connsiteX8" fmla="*/ 815340 w 8854440"/>
              <a:gd name="connsiteY8" fmla="*/ 38100 h 358140"/>
              <a:gd name="connsiteX9" fmla="*/ 944880 w 8854440"/>
              <a:gd name="connsiteY9" fmla="*/ 38100 h 358140"/>
              <a:gd name="connsiteX10" fmla="*/ 1066800 w 8854440"/>
              <a:gd name="connsiteY10" fmla="*/ 38100 h 358140"/>
              <a:gd name="connsiteX11" fmla="*/ 1165860 w 8854440"/>
              <a:gd name="connsiteY11" fmla="*/ 68580 h 358140"/>
              <a:gd name="connsiteX12" fmla="*/ 1264920 w 8854440"/>
              <a:gd name="connsiteY12" fmla="*/ 53340 h 358140"/>
              <a:gd name="connsiteX13" fmla="*/ 1318260 w 8854440"/>
              <a:gd name="connsiteY13" fmla="*/ 38100 h 358140"/>
              <a:gd name="connsiteX14" fmla="*/ 1379220 w 8854440"/>
              <a:gd name="connsiteY14" fmla="*/ 60960 h 358140"/>
              <a:gd name="connsiteX15" fmla="*/ 1516380 w 8854440"/>
              <a:gd name="connsiteY15" fmla="*/ 45720 h 358140"/>
              <a:gd name="connsiteX16" fmla="*/ 1653540 w 8854440"/>
              <a:gd name="connsiteY16" fmla="*/ 60960 h 358140"/>
              <a:gd name="connsiteX17" fmla="*/ 1737360 w 8854440"/>
              <a:gd name="connsiteY17" fmla="*/ 60960 h 358140"/>
              <a:gd name="connsiteX18" fmla="*/ 1805940 w 8854440"/>
              <a:gd name="connsiteY18" fmla="*/ 60960 h 358140"/>
              <a:gd name="connsiteX19" fmla="*/ 1897380 w 8854440"/>
              <a:gd name="connsiteY19" fmla="*/ 53340 h 358140"/>
              <a:gd name="connsiteX20" fmla="*/ 2011680 w 8854440"/>
              <a:gd name="connsiteY20" fmla="*/ 38100 h 358140"/>
              <a:gd name="connsiteX21" fmla="*/ 2240280 w 8854440"/>
              <a:gd name="connsiteY21" fmla="*/ 38100 h 358140"/>
              <a:gd name="connsiteX22" fmla="*/ 2377440 w 8854440"/>
              <a:gd name="connsiteY22" fmla="*/ 38100 h 358140"/>
              <a:gd name="connsiteX23" fmla="*/ 2476500 w 8854440"/>
              <a:gd name="connsiteY23" fmla="*/ 60960 h 358140"/>
              <a:gd name="connsiteX24" fmla="*/ 2606040 w 8854440"/>
              <a:gd name="connsiteY24" fmla="*/ 38100 h 358140"/>
              <a:gd name="connsiteX25" fmla="*/ 2606040 w 8854440"/>
              <a:gd name="connsiteY25" fmla="*/ 38100 h 358140"/>
              <a:gd name="connsiteX26" fmla="*/ 2865120 w 8854440"/>
              <a:gd name="connsiteY26" fmla="*/ 45720 h 358140"/>
              <a:gd name="connsiteX27" fmla="*/ 2979420 w 8854440"/>
              <a:gd name="connsiteY27" fmla="*/ 83820 h 358140"/>
              <a:gd name="connsiteX28" fmla="*/ 3101340 w 8854440"/>
              <a:gd name="connsiteY28" fmla="*/ 38100 h 358140"/>
              <a:gd name="connsiteX29" fmla="*/ 3223260 w 8854440"/>
              <a:gd name="connsiteY29" fmla="*/ 45720 h 358140"/>
              <a:gd name="connsiteX30" fmla="*/ 3284220 w 8854440"/>
              <a:gd name="connsiteY30" fmla="*/ 38100 h 358140"/>
              <a:gd name="connsiteX31" fmla="*/ 3589020 w 8854440"/>
              <a:gd name="connsiteY31" fmla="*/ 83820 h 358140"/>
              <a:gd name="connsiteX32" fmla="*/ 3680460 w 8854440"/>
              <a:gd name="connsiteY32" fmla="*/ 76200 h 358140"/>
              <a:gd name="connsiteX33" fmla="*/ 3817620 w 8854440"/>
              <a:gd name="connsiteY33" fmla="*/ 91440 h 358140"/>
              <a:gd name="connsiteX34" fmla="*/ 3962400 w 8854440"/>
              <a:gd name="connsiteY34" fmla="*/ 137160 h 358140"/>
              <a:gd name="connsiteX35" fmla="*/ 4091940 w 8854440"/>
              <a:gd name="connsiteY35" fmla="*/ 99060 h 358140"/>
              <a:gd name="connsiteX36" fmla="*/ 4160520 w 8854440"/>
              <a:gd name="connsiteY36" fmla="*/ 114300 h 358140"/>
              <a:gd name="connsiteX37" fmla="*/ 4259580 w 8854440"/>
              <a:gd name="connsiteY37" fmla="*/ 114300 h 358140"/>
              <a:gd name="connsiteX38" fmla="*/ 4389120 w 8854440"/>
              <a:gd name="connsiteY38" fmla="*/ 152400 h 358140"/>
              <a:gd name="connsiteX39" fmla="*/ 4640580 w 8854440"/>
              <a:gd name="connsiteY39" fmla="*/ 152400 h 358140"/>
              <a:gd name="connsiteX40" fmla="*/ 4770120 w 8854440"/>
              <a:gd name="connsiteY40" fmla="*/ 144780 h 358140"/>
              <a:gd name="connsiteX41" fmla="*/ 4945380 w 8854440"/>
              <a:gd name="connsiteY41" fmla="*/ 167640 h 358140"/>
              <a:gd name="connsiteX42" fmla="*/ 5029200 w 8854440"/>
              <a:gd name="connsiteY42" fmla="*/ 167640 h 358140"/>
              <a:gd name="connsiteX43" fmla="*/ 5113020 w 8854440"/>
              <a:gd name="connsiteY43" fmla="*/ 167640 h 358140"/>
              <a:gd name="connsiteX44" fmla="*/ 5173980 w 8854440"/>
              <a:gd name="connsiteY44" fmla="*/ 160020 h 358140"/>
              <a:gd name="connsiteX45" fmla="*/ 5227320 w 8854440"/>
              <a:gd name="connsiteY45" fmla="*/ 175260 h 358140"/>
              <a:gd name="connsiteX46" fmla="*/ 5326380 w 8854440"/>
              <a:gd name="connsiteY46" fmla="*/ 167640 h 358140"/>
              <a:gd name="connsiteX47" fmla="*/ 5463540 w 8854440"/>
              <a:gd name="connsiteY47" fmla="*/ 175260 h 358140"/>
              <a:gd name="connsiteX48" fmla="*/ 5615940 w 8854440"/>
              <a:gd name="connsiteY48" fmla="*/ 182880 h 358140"/>
              <a:gd name="connsiteX49" fmla="*/ 5646420 w 8854440"/>
              <a:gd name="connsiteY49" fmla="*/ 198120 h 358140"/>
              <a:gd name="connsiteX50" fmla="*/ 5699760 w 8854440"/>
              <a:gd name="connsiteY50" fmla="*/ 205740 h 358140"/>
              <a:gd name="connsiteX51" fmla="*/ 5829300 w 8854440"/>
              <a:gd name="connsiteY51" fmla="*/ 205740 h 358140"/>
              <a:gd name="connsiteX52" fmla="*/ 5867400 w 8854440"/>
              <a:gd name="connsiteY52" fmla="*/ 205740 h 358140"/>
              <a:gd name="connsiteX53" fmla="*/ 6019800 w 8854440"/>
              <a:gd name="connsiteY53" fmla="*/ 213360 h 358140"/>
              <a:gd name="connsiteX54" fmla="*/ 6088380 w 8854440"/>
              <a:gd name="connsiteY54" fmla="*/ 228600 h 358140"/>
              <a:gd name="connsiteX55" fmla="*/ 6195060 w 8854440"/>
              <a:gd name="connsiteY55" fmla="*/ 205740 h 358140"/>
              <a:gd name="connsiteX56" fmla="*/ 6248400 w 8854440"/>
              <a:gd name="connsiteY56" fmla="*/ 213360 h 358140"/>
              <a:gd name="connsiteX57" fmla="*/ 6362700 w 8854440"/>
              <a:gd name="connsiteY57" fmla="*/ 213360 h 358140"/>
              <a:gd name="connsiteX58" fmla="*/ 6507480 w 8854440"/>
              <a:gd name="connsiteY58" fmla="*/ 228600 h 358140"/>
              <a:gd name="connsiteX59" fmla="*/ 6652260 w 8854440"/>
              <a:gd name="connsiteY59" fmla="*/ 228600 h 358140"/>
              <a:gd name="connsiteX60" fmla="*/ 6766560 w 8854440"/>
              <a:gd name="connsiteY60" fmla="*/ 205740 h 358140"/>
              <a:gd name="connsiteX61" fmla="*/ 6819900 w 8854440"/>
              <a:gd name="connsiteY61" fmla="*/ 228600 h 358140"/>
              <a:gd name="connsiteX62" fmla="*/ 6903720 w 8854440"/>
              <a:gd name="connsiteY62" fmla="*/ 220980 h 358140"/>
              <a:gd name="connsiteX63" fmla="*/ 7010400 w 8854440"/>
              <a:gd name="connsiteY63" fmla="*/ 220980 h 358140"/>
              <a:gd name="connsiteX64" fmla="*/ 7178040 w 8854440"/>
              <a:gd name="connsiteY64" fmla="*/ 220980 h 358140"/>
              <a:gd name="connsiteX65" fmla="*/ 7345680 w 8854440"/>
              <a:gd name="connsiteY65" fmla="*/ 236220 h 358140"/>
              <a:gd name="connsiteX66" fmla="*/ 7383780 w 8854440"/>
              <a:gd name="connsiteY66" fmla="*/ 205740 h 358140"/>
              <a:gd name="connsiteX67" fmla="*/ 7444740 w 8854440"/>
              <a:gd name="connsiteY67" fmla="*/ 236220 h 358140"/>
              <a:gd name="connsiteX68" fmla="*/ 7574280 w 8854440"/>
              <a:gd name="connsiteY68" fmla="*/ 205740 h 358140"/>
              <a:gd name="connsiteX69" fmla="*/ 7635240 w 8854440"/>
              <a:gd name="connsiteY69" fmla="*/ 198120 h 358140"/>
              <a:gd name="connsiteX70" fmla="*/ 7719060 w 8854440"/>
              <a:gd name="connsiteY70" fmla="*/ 205740 h 358140"/>
              <a:gd name="connsiteX71" fmla="*/ 7940040 w 8854440"/>
              <a:gd name="connsiteY71" fmla="*/ 228600 h 358140"/>
              <a:gd name="connsiteX72" fmla="*/ 8031480 w 8854440"/>
              <a:gd name="connsiteY72" fmla="*/ 220980 h 358140"/>
              <a:gd name="connsiteX73" fmla="*/ 8237220 w 8854440"/>
              <a:gd name="connsiteY73" fmla="*/ 205740 h 358140"/>
              <a:gd name="connsiteX74" fmla="*/ 8435340 w 8854440"/>
              <a:gd name="connsiteY74" fmla="*/ 213360 h 358140"/>
              <a:gd name="connsiteX75" fmla="*/ 8496300 w 8854440"/>
              <a:gd name="connsiteY75" fmla="*/ 266700 h 358140"/>
              <a:gd name="connsiteX76" fmla="*/ 8526780 w 8854440"/>
              <a:gd name="connsiteY76" fmla="*/ 358140 h 358140"/>
              <a:gd name="connsiteX77" fmla="*/ 8610600 w 8854440"/>
              <a:gd name="connsiteY77" fmla="*/ 312420 h 358140"/>
              <a:gd name="connsiteX78" fmla="*/ 8679180 w 8854440"/>
              <a:gd name="connsiteY78" fmla="*/ 304800 h 358140"/>
              <a:gd name="connsiteX79" fmla="*/ 8778240 w 8854440"/>
              <a:gd name="connsiteY79" fmla="*/ 297180 h 358140"/>
              <a:gd name="connsiteX80" fmla="*/ 8854440 w 8854440"/>
              <a:gd name="connsiteY80" fmla="*/ 297180 h 35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8854440" h="358140">
                <a:moveTo>
                  <a:pt x="0" y="0"/>
                </a:moveTo>
                <a:lnTo>
                  <a:pt x="205740" y="30480"/>
                </a:lnTo>
                <a:lnTo>
                  <a:pt x="312420" y="7620"/>
                </a:lnTo>
                <a:lnTo>
                  <a:pt x="396240" y="22860"/>
                </a:lnTo>
                <a:lnTo>
                  <a:pt x="480060" y="30480"/>
                </a:lnTo>
                <a:lnTo>
                  <a:pt x="594360" y="0"/>
                </a:lnTo>
                <a:lnTo>
                  <a:pt x="640080" y="22860"/>
                </a:lnTo>
                <a:lnTo>
                  <a:pt x="731520" y="7620"/>
                </a:lnTo>
                <a:lnTo>
                  <a:pt x="815340" y="38100"/>
                </a:lnTo>
                <a:lnTo>
                  <a:pt x="944880" y="38100"/>
                </a:lnTo>
                <a:lnTo>
                  <a:pt x="1066800" y="38100"/>
                </a:lnTo>
                <a:lnTo>
                  <a:pt x="1165860" y="68580"/>
                </a:lnTo>
                <a:lnTo>
                  <a:pt x="1264920" y="53340"/>
                </a:lnTo>
                <a:lnTo>
                  <a:pt x="1318260" y="38100"/>
                </a:lnTo>
                <a:lnTo>
                  <a:pt x="1379220" y="60960"/>
                </a:lnTo>
                <a:lnTo>
                  <a:pt x="1516380" y="45720"/>
                </a:lnTo>
                <a:lnTo>
                  <a:pt x="1653540" y="60960"/>
                </a:lnTo>
                <a:lnTo>
                  <a:pt x="1737360" y="60960"/>
                </a:lnTo>
                <a:lnTo>
                  <a:pt x="1805940" y="60960"/>
                </a:lnTo>
                <a:lnTo>
                  <a:pt x="1897380" y="53340"/>
                </a:lnTo>
                <a:lnTo>
                  <a:pt x="2011680" y="38100"/>
                </a:lnTo>
                <a:lnTo>
                  <a:pt x="2240280" y="38100"/>
                </a:lnTo>
                <a:lnTo>
                  <a:pt x="2377440" y="38100"/>
                </a:lnTo>
                <a:lnTo>
                  <a:pt x="2476500" y="60960"/>
                </a:lnTo>
                <a:lnTo>
                  <a:pt x="2606040" y="38100"/>
                </a:lnTo>
                <a:lnTo>
                  <a:pt x="2606040" y="38100"/>
                </a:lnTo>
                <a:lnTo>
                  <a:pt x="2865120" y="45720"/>
                </a:lnTo>
                <a:lnTo>
                  <a:pt x="2979420" y="83820"/>
                </a:lnTo>
                <a:lnTo>
                  <a:pt x="3101340" y="38100"/>
                </a:lnTo>
                <a:lnTo>
                  <a:pt x="3223260" y="45720"/>
                </a:lnTo>
                <a:lnTo>
                  <a:pt x="3284220" y="38100"/>
                </a:lnTo>
                <a:lnTo>
                  <a:pt x="3589020" y="83820"/>
                </a:lnTo>
                <a:lnTo>
                  <a:pt x="3680460" y="76200"/>
                </a:lnTo>
                <a:lnTo>
                  <a:pt x="3817620" y="91440"/>
                </a:lnTo>
                <a:lnTo>
                  <a:pt x="3962400" y="137160"/>
                </a:lnTo>
                <a:lnTo>
                  <a:pt x="4091940" y="99060"/>
                </a:lnTo>
                <a:lnTo>
                  <a:pt x="4160520" y="114300"/>
                </a:lnTo>
                <a:lnTo>
                  <a:pt x="4259580" y="114300"/>
                </a:lnTo>
                <a:lnTo>
                  <a:pt x="4389120" y="152400"/>
                </a:lnTo>
                <a:lnTo>
                  <a:pt x="4640580" y="152400"/>
                </a:lnTo>
                <a:lnTo>
                  <a:pt x="4770120" y="144780"/>
                </a:lnTo>
                <a:lnTo>
                  <a:pt x="4945380" y="167640"/>
                </a:lnTo>
                <a:lnTo>
                  <a:pt x="5029200" y="167640"/>
                </a:lnTo>
                <a:lnTo>
                  <a:pt x="5113020" y="167640"/>
                </a:lnTo>
                <a:lnTo>
                  <a:pt x="5173980" y="160020"/>
                </a:lnTo>
                <a:lnTo>
                  <a:pt x="5227320" y="175260"/>
                </a:lnTo>
                <a:lnTo>
                  <a:pt x="5326380" y="167640"/>
                </a:lnTo>
                <a:lnTo>
                  <a:pt x="5463540" y="175260"/>
                </a:lnTo>
                <a:lnTo>
                  <a:pt x="5615940" y="182880"/>
                </a:lnTo>
                <a:lnTo>
                  <a:pt x="5646420" y="198120"/>
                </a:lnTo>
                <a:lnTo>
                  <a:pt x="5699760" y="205740"/>
                </a:lnTo>
                <a:lnTo>
                  <a:pt x="5829300" y="205740"/>
                </a:lnTo>
                <a:lnTo>
                  <a:pt x="5867400" y="205740"/>
                </a:lnTo>
                <a:lnTo>
                  <a:pt x="6019800" y="213360"/>
                </a:lnTo>
                <a:lnTo>
                  <a:pt x="6088380" y="228600"/>
                </a:lnTo>
                <a:lnTo>
                  <a:pt x="6195060" y="205740"/>
                </a:lnTo>
                <a:lnTo>
                  <a:pt x="6248400" y="213360"/>
                </a:lnTo>
                <a:lnTo>
                  <a:pt x="6362700" y="213360"/>
                </a:lnTo>
                <a:lnTo>
                  <a:pt x="6507480" y="228600"/>
                </a:lnTo>
                <a:lnTo>
                  <a:pt x="6652260" y="228600"/>
                </a:lnTo>
                <a:lnTo>
                  <a:pt x="6766560" y="205740"/>
                </a:lnTo>
                <a:lnTo>
                  <a:pt x="6819900" y="228600"/>
                </a:lnTo>
                <a:lnTo>
                  <a:pt x="6903720" y="220980"/>
                </a:lnTo>
                <a:lnTo>
                  <a:pt x="7010400" y="220980"/>
                </a:lnTo>
                <a:lnTo>
                  <a:pt x="7178040" y="220980"/>
                </a:lnTo>
                <a:lnTo>
                  <a:pt x="7345680" y="236220"/>
                </a:lnTo>
                <a:lnTo>
                  <a:pt x="7383780" y="205740"/>
                </a:lnTo>
                <a:lnTo>
                  <a:pt x="7444740" y="236220"/>
                </a:lnTo>
                <a:lnTo>
                  <a:pt x="7574280" y="205740"/>
                </a:lnTo>
                <a:lnTo>
                  <a:pt x="7635240" y="198120"/>
                </a:lnTo>
                <a:lnTo>
                  <a:pt x="7719060" y="205740"/>
                </a:lnTo>
                <a:lnTo>
                  <a:pt x="7940040" y="228600"/>
                </a:lnTo>
                <a:lnTo>
                  <a:pt x="8031480" y="220980"/>
                </a:lnTo>
                <a:lnTo>
                  <a:pt x="8237220" y="205740"/>
                </a:lnTo>
                <a:lnTo>
                  <a:pt x="8435340" y="213360"/>
                </a:lnTo>
                <a:lnTo>
                  <a:pt x="8496300" y="266700"/>
                </a:lnTo>
                <a:lnTo>
                  <a:pt x="8526780" y="358140"/>
                </a:lnTo>
                <a:lnTo>
                  <a:pt x="8610600" y="312420"/>
                </a:lnTo>
                <a:lnTo>
                  <a:pt x="8679180" y="304800"/>
                </a:lnTo>
                <a:lnTo>
                  <a:pt x="8778240" y="297180"/>
                </a:lnTo>
                <a:lnTo>
                  <a:pt x="8854440" y="297180"/>
                </a:lnTo>
              </a:path>
            </a:pathLst>
          </a:cu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F9F15277-745F-47B0-8FF8-E3E8D5533013}"/>
              </a:ext>
            </a:extLst>
          </p:cNvPr>
          <p:cNvSpPr/>
          <p:nvPr/>
        </p:nvSpPr>
        <p:spPr>
          <a:xfrm>
            <a:off x="1889760" y="2880360"/>
            <a:ext cx="8785860" cy="281940"/>
          </a:xfrm>
          <a:custGeom>
            <a:avLst/>
            <a:gdLst>
              <a:gd name="connsiteX0" fmla="*/ 0 w 8785860"/>
              <a:gd name="connsiteY0" fmla="*/ 0 h 281940"/>
              <a:gd name="connsiteX1" fmla="*/ 167640 w 8785860"/>
              <a:gd name="connsiteY1" fmla="*/ 22860 h 281940"/>
              <a:gd name="connsiteX2" fmla="*/ 243840 w 8785860"/>
              <a:gd name="connsiteY2" fmla="*/ 22860 h 281940"/>
              <a:gd name="connsiteX3" fmla="*/ 350520 w 8785860"/>
              <a:gd name="connsiteY3" fmla="*/ 30480 h 281940"/>
              <a:gd name="connsiteX4" fmla="*/ 441960 w 8785860"/>
              <a:gd name="connsiteY4" fmla="*/ 30480 h 281940"/>
              <a:gd name="connsiteX5" fmla="*/ 487680 w 8785860"/>
              <a:gd name="connsiteY5" fmla="*/ 0 h 281940"/>
              <a:gd name="connsiteX6" fmla="*/ 525780 w 8785860"/>
              <a:gd name="connsiteY6" fmla="*/ 15240 h 281940"/>
              <a:gd name="connsiteX7" fmla="*/ 632460 w 8785860"/>
              <a:gd name="connsiteY7" fmla="*/ 15240 h 281940"/>
              <a:gd name="connsiteX8" fmla="*/ 685800 w 8785860"/>
              <a:gd name="connsiteY8" fmla="*/ 30480 h 281940"/>
              <a:gd name="connsiteX9" fmla="*/ 731520 w 8785860"/>
              <a:gd name="connsiteY9" fmla="*/ 30480 h 281940"/>
              <a:gd name="connsiteX10" fmla="*/ 853440 w 8785860"/>
              <a:gd name="connsiteY10" fmla="*/ 53340 h 281940"/>
              <a:gd name="connsiteX11" fmla="*/ 998220 w 8785860"/>
              <a:gd name="connsiteY11" fmla="*/ 45720 h 281940"/>
              <a:gd name="connsiteX12" fmla="*/ 1112520 w 8785860"/>
              <a:gd name="connsiteY12" fmla="*/ 45720 h 281940"/>
              <a:gd name="connsiteX13" fmla="*/ 1325880 w 8785860"/>
              <a:gd name="connsiteY13" fmla="*/ 76200 h 281940"/>
              <a:gd name="connsiteX14" fmla="*/ 1394460 w 8785860"/>
              <a:gd name="connsiteY14" fmla="*/ 60960 h 281940"/>
              <a:gd name="connsiteX15" fmla="*/ 1531620 w 8785860"/>
              <a:gd name="connsiteY15" fmla="*/ 60960 h 281940"/>
              <a:gd name="connsiteX16" fmla="*/ 1668780 w 8785860"/>
              <a:gd name="connsiteY16" fmla="*/ 60960 h 281940"/>
              <a:gd name="connsiteX17" fmla="*/ 1805940 w 8785860"/>
              <a:gd name="connsiteY17" fmla="*/ 53340 h 281940"/>
              <a:gd name="connsiteX18" fmla="*/ 1943100 w 8785860"/>
              <a:gd name="connsiteY18" fmla="*/ 45720 h 281940"/>
              <a:gd name="connsiteX19" fmla="*/ 2057400 w 8785860"/>
              <a:gd name="connsiteY19" fmla="*/ 45720 h 281940"/>
              <a:gd name="connsiteX20" fmla="*/ 2171700 w 8785860"/>
              <a:gd name="connsiteY20" fmla="*/ 45720 h 281940"/>
              <a:gd name="connsiteX21" fmla="*/ 2263140 w 8785860"/>
              <a:gd name="connsiteY21" fmla="*/ 45720 h 281940"/>
              <a:gd name="connsiteX22" fmla="*/ 2385060 w 8785860"/>
              <a:gd name="connsiteY22" fmla="*/ 45720 h 281940"/>
              <a:gd name="connsiteX23" fmla="*/ 2468880 w 8785860"/>
              <a:gd name="connsiteY23" fmla="*/ 45720 h 281940"/>
              <a:gd name="connsiteX24" fmla="*/ 2575560 w 8785860"/>
              <a:gd name="connsiteY24" fmla="*/ 45720 h 281940"/>
              <a:gd name="connsiteX25" fmla="*/ 2651760 w 8785860"/>
              <a:gd name="connsiteY25" fmla="*/ 30480 h 281940"/>
              <a:gd name="connsiteX26" fmla="*/ 2750820 w 8785860"/>
              <a:gd name="connsiteY26" fmla="*/ 53340 h 281940"/>
              <a:gd name="connsiteX27" fmla="*/ 2842260 w 8785860"/>
              <a:gd name="connsiteY27" fmla="*/ 53340 h 281940"/>
              <a:gd name="connsiteX28" fmla="*/ 2918460 w 8785860"/>
              <a:gd name="connsiteY28" fmla="*/ 53340 h 281940"/>
              <a:gd name="connsiteX29" fmla="*/ 3025140 w 8785860"/>
              <a:gd name="connsiteY29" fmla="*/ 60960 h 281940"/>
              <a:gd name="connsiteX30" fmla="*/ 3108960 w 8785860"/>
              <a:gd name="connsiteY30" fmla="*/ 45720 h 281940"/>
              <a:gd name="connsiteX31" fmla="*/ 3177540 w 8785860"/>
              <a:gd name="connsiteY31" fmla="*/ 45720 h 281940"/>
              <a:gd name="connsiteX32" fmla="*/ 3268980 w 8785860"/>
              <a:gd name="connsiteY32" fmla="*/ 45720 h 281940"/>
              <a:gd name="connsiteX33" fmla="*/ 3451860 w 8785860"/>
              <a:gd name="connsiteY33" fmla="*/ 60960 h 281940"/>
              <a:gd name="connsiteX34" fmla="*/ 3581400 w 8785860"/>
              <a:gd name="connsiteY34" fmla="*/ 76200 h 281940"/>
              <a:gd name="connsiteX35" fmla="*/ 3680460 w 8785860"/>
              <a:gd name="connsiteY35" fmla="*/ 60960 h 281940"/>
              <a:gd name="connsiteX36" fmla="*/ 3756660 w 8785860"/>
              <a:gd name="connsiteY36" fmla="*/ 60960 h 281940"/>
              <a:gd name="connsiteX37" fmla="*/ 3886200 w 8785860"/>
              <a:gd name="connsiteY37" fmla="*/ 83820 h 281940"/>
              <a:gd name="connsiteX38" fmla="*/ 4015740 w 8785860"/>
              <a:gd name="connsiteY38" fmla="*/ 121920 h 281940"/>
              <a:gd name="connsiteX39" fmla="*/ 4076700 w 8785860"/>
              <a:gd name="connsiteY39" fmla="*/ 99060 h 281940"/>
              <a:gd name="connsiteX40" fmla="*/ 4076700 w 8785860"/>
              <a:gd name="connsiteY40" fmla="*/ 99060 h 281940"/>
              <a:gd name="connsiteX41" fmla="*/ 4213860 w 8785860"/>
              <a:gd name="connsiteY41" fmla="*/ 114300 h 281940"/>
              <a:gd name="connsiteX42" fmla="*/ 4297680 w 8785860"/>
              <a:gd name="connsiteY42" fmla="*/ 114300 h 281940"/>
              <a:gd name="connsiteX43" fmla="*/ 4366260 w 8785860"/>
              <a:gd name="connsiteY43" fmla="*/ 114300 h 281940"/>
              <a:gd name="connsiteX44" fmla="*/ 4518660 w 8785860"/>
              <a:gd name="connsiteY44" fmla="*/ 144780 h 281940"/>
              <a:gd name="connsiteX45" fmla="*/ 4556760 w 8785860"/>
              <a:gd name="connsiteY45" fmla="*/ 137160 h 281940"/>
              <a:gd name="connsiteX46" fmla="*/ 4655820 w 8785860"/>
              <a:gd name="connsiteY46" fmla="*/ 137160 h 281940"/>
              <a:gd name="connsiteX47" fmla="*/ 4808220 w 8785860"/>
              <a:gd name="connsiteY47" fmla="*/ 137160 h 281940"/>
              <a:gd name="connsiteX48" fmla="*/ 4922520 w 8785860"/>
              <a:gd name="connsiteY48" fmla="*/ 137160 h 281940"/>
              <a:gd name="connsiteX49" fmla="*/ 5143500 w 8785860"/>
              <a:gd name="connsiteY49" fmla="*/ 152400 h 281940"/>
              <a:gd name="connsiteX50" fmla="*/ 5318760 w 8785860"/>
              <a:gd name="connsiteY50" fmla="*/ 160020 h 281940"/>
              <a:gd name="connsiteX51" fmla="*/ 5433060 w 8785860"/>
              <a:gd name="connsiteY51" fmla="*/ 160020 h 281940"/>
              <a:gd name="connsiteX52" fmla="*/ 5654040 w 8785860"/>
              <a:gd name="connsiteY52" fmla="*/ 167640 h 281940"/>
              <a:gd name="connsiteX53" fmla="*/ 5775960 w 8785860"/>
              <a:gd name="connsiteY53" fmla="*/ 167640 h 281940"/>
              <a:gd name="connsiteX54" fmla="*/ 6004560 w 8785860"/>
              <a:gd name="connsiteY54" fmla="*/ 182880 h 281940"/>
              <a:gd name="connsiteX55" fmla="*/ 6324600 w 8785860"/>
              <a:gd name="connsiteY55" fmla="*/ 190500 h 281940"/>
              <a:gd name="connsiteX56" fmla="*/ 6515100 w 8785860"/>
              <a:gd name="connsiteY56" fmla="*/ 190500 h 281940"/>
              <a:gd name="connsiteX57" fmla="*/ 6789420 w 8785860"/>
              <a:gd name="connsiteY57" fmla="*/ 182880 h 281940"/>
              <a:gd name="connsiteX58" fmla="*/ 6949440 w 8785860"/>
              <a:gd name="connsiteY58" fmla="*/ 182880 h 281940"/>
              <a:gd name="connsiteX59" fmla="*/ 7193280 w 8785860"/>
              <a:gd name="connsiteY59" fmla="*/ 167640 h 281940"/>
              <a:gd name="connsiteX60" fmla="*/ 7437120 w 8785860"/>
              <a:gd name="connsiteY60" fmla="*/ 175260 h 281940"/>
              <a:gd name="connsiteX61" fmla="*/ 7810500 w 8785860"/>
              <a:gd name="connsiteY61" fmla="*/ 175260 h 281940"/>
              <a:gd name="connsiteX62" fmla="*/ 8168640 w 8785860"/>
              <a:gd name="connsiteY62" fmla="*/ 175260 h 281940"/>
              <a:gd name="connsiteX63" fmla="*/ 8404860 w 8785860"/>
              <a:gd name="connsiteY63" fmla="*/ 167640 h 281940"/>
              <a:gd name="connsiteX64" fmla="*/ 8511540 w 8785860"/>
              <a:gd name="connsiteY64" fmla="*/ 198120 h 281940"/>
              <a:gd name="connsiteX65" fmla="*/ 8564880 w 8785860"/>
              <a:gd name="connsiteY65" fmla="*/ 281940 h 281940"/>
              <a:gd name="connsiteX66" fmla="*/ 8633460 w 8785860"/>
              <a:gd name="connsiteY66" fmla="*/ 259080 h 281940"/>
              <a:gd name="connsiteX67" fmla="*/ 8709660 w 8785860"/>
              <a:gd name="connsiteY67" fmla="*/ 243840 h 281940"/>
              <a:gd name="connsiteX68" fmla="*/ 8770620 w 8785860"/>
              <a:gd name="connsiteY68" fmla="*/ 243840 h 281940"/>
              <a:gd name="connsiteX69" fmla="*/ 8785860 w 8785860"/>
              <a:gd name="connsiteY69" fmla="*/ 228600 h 281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8785860" h="281940">
                <a:moveTo>
                  <a:pt x="0" y="0"/>
                </a:moveTo>
                <a:lnTo>
                  <a:pt x="167640" y="22860"/>
                </a:lnTo>
                <a:lnTo>
                  <a:pt x="243840" y="22860"/>
                </a:lnTo>
                <a:lnTo>
                  <a:pt x="350520" y="30480"/>
                </a:lnTo>
                <a:lnTo>
                  <a:pt x="441960" y="30480"/>
                </a:lnTo>
                <a:lnTo>
                  <a:pt x="487680" y="0"/>
                </a:lnTo>
                <a:lnTo>
                  <a:pt x="525780" y="15240"/>
                </a:lnTo>
                <a:lnTo>
                  <a:pt x="632460" y="15240"/>
                </a:lnTo>
                <a:lnTo>
                  <a:pt x="685800" y="30480"/>
                </a:lnTo>
                <a:lnTo>
                  <a:pt x="731520" y="30480"/>
                </a:lnTo>
                <a:lnTo>
                  <a:pt x="853440" y="53340"/>
                </a:lnTo>
                <a:lnTo>
                  <a:pt x="998220" y="45720"/>
                </a:lnTo>
                <a:lnTo>
                  <a:pt x="1112520" y="45720"/>
                </a:lnTo>
                <a:lnTo>
                  <a:pt x="1325880" y="76200"/>
                </a:lnTo>
                <a:lnTo>
                  <a:pt x="1394460" y="60960"/>
                </a:lnTo>
                <a:lnTo>
                  <a:pt x="1531620" y="60960"/>
                </a:lnTo>
                <a:lnTo>
                  <a:pt x="1668780" y="60960"/>
                </a:lnTo>
                <a:lnTo>
                  <a:pt x="1805940" y="53340"/>
                </a:lnTo>
                <a:lnTo>
                  <a:pt x="1943100" y="45720"/>
                </a:lnTo>
                <a:lnTo>
                  <a:pt x="2057400" y="45720"/>
                </a:lnTo>
                <a:lnTo>
                  <a:pt x="2171700" y="45720"/>
                </a:lnTo>
                <a:lnTo>
                  <a:pt x="2263140" y="45720"/>
                </a:lnTo>
                <a:lnTo>
                  <a:pt x="2385060" y="45720"/>
                </a:lnTo>
                <a:lnTo>
                  <a:pt x="2468880" y="45720"/>
                </a:lnTo>
                <a:lnTo>
                  <a:pt x="2575560" y="45720"/>
                </a:lnTo>
                <a:lnTo>
                  <a:pt x="2651760" y="30480"/>
                </a:lnTo>
                <a:lnTo>
                  <a:pt x="2750820" y="53340"/>
                </a:lnTo>
                <a:lnTo>
                  <a:pt x="2842260" y="53340"/>
                </a:lnTo>
                <a:lnTo>
                  <a:pt x="2918460" y="53340"/>
                </a:lnTo>
                <a:lnTo>
                  <a:pt x="3025140" y="60960"/>
                </a:lnTo>
                <a:lnTo>
                  <a:pt x="3108960" y="45720"/>
                </a:lnTo>
                <a:lnTo>
                  <a:pt x="3177540" y="45720"/>
                </a:lnTo>
                <a:lnTo>
                  <a:pt x="3268980" y="45720"/>
                </a:lnTo>
                <a:lnTo>
                  <a:pt x="3451860" y="60960"/>
                </a:lnTo>
                <a:lnTo>
                  <a:pt x="3581400" y="76200"/>
                </a:lnTo>
                <a:lnTo>
                  <a:pt x="3680460" y="60960"/>
                </a:lnTo>
                <a:lnTo>
                  <a:pt x="3756660" y="60960"/>
                </a:lnTo>
                <a:lnTo>
                  <a:pt x="3886200" y="83820"/>
                </a:lnTo>
                <a:lnTo>
                  <a:pt x="4015740" y="121920"/>
                </a:lnTo>
                <a:lnTo>
                  <a:pt x="4076700" y="99060"/>
                </a:lnTo>
                <a:lnTo>
                  <a:pt x="4076700" y="99060"/>
                </a:lnTo>
                <a:lnTo>
                  <a:pt x="4213860" y="114300"/>
                </a:lnTo>
                <a:lnTo>
                  <a:pt x="4297680" y="114300"/>
                </a:lnTo>
                <a:lnTo>
                  <a:pt x="4366260" y="114300"/>
                </a:lnTo>
                <a:lnTo>
                  <a:pt x="4518660" y="144780"/>
                </a:lnTo>
                <a:lnTo>
                  <a:pt x="4556760" y="137160"/>
                </a:lnTo>
                <a:lnTo>
                  <a:pt x="4655820" y="137160"/>
                </a:lnTo>
                <a:lnTo>
                  <a:pt x="4808220" y="137160"/>
                </a:lnTo>
                <a:lnTo>
                  <a:pt x="4922520" y="137160"/>
                </a:lnTo>
                <a:lnTo>
                  <a:pt x="5143500" y="152400"/>
                </a:lnTo>
                <a:lnTo>
                  <a:pt x="5318760" y="160020"/>
                </a:lnTo>
                <a:lnTo>
                  <a:pt x="5433060" y="160020"/>
                </a:lnTo>
                <a:lnTo>
                  <a:pt x="5654040" y="167640"/>
                </a:lnTo>
                <a:lnTo>
                  <a:pt x="5775960" y="167640"/>
                </a:lnTo>
                <a:lnTo>
                  <a:pt x="6004560" y="182880"/>
                </a:lnTo>
                <a:lnTo>
                  <a:pt x="6324600" y="190500"/>
                </a:lnTo>
                <a:lnTo>
                  <a:pt x="6515100" y="190500"/>
                </a:lnTo>
                <a:lnTo>
                  <a:pt x="6789420" y="182880"/>
                </a:lnTo>
                <a:lnTo>
                  <a:pt x="6949440" y="182880"/>
                </a:lnTo>
                <a:lnTo>
                  <a:pt x="7193280" y="167640"/>
                </a:lnTo>
                <a:lnTo>
                  <a:pt x="7437120" y="175260"/>
                </a:lnTo>
                <a:lnTo>
                  <a:pt x="7810500" y="175260"/>
                </a:lnTo>
                <a:lnTo>
                  <a:pt x="8168640" y="175260"/>
                </a:lnTo>
                <a:lnTo>
                  <a:pt x="8404860" y="167640"/>
                </a:lnTo>
                <a:lnTo>
                  <a:pt x="8511540" y="198120"/>
                </a:lnTo>
                <a:lnTo>
                  <a:pt x="8564880" y="281940"/>
                </a:lnTo>
                <a:lnTo>
                  <a:pt x="8633460" y="259080"/>
                </a:lnTo>
                <a:lnTo>
                  <a:pt x="8709660" y="243840"/>
                </a:lnTo>
                <a:lnTo>
                  <a:pt x="8770620" y="243840"/>
                </a:lnTo>
                <a:lnTo>
                  <a:pt x="8785860" y="228600"/>
                </a:lnTo>
              </a:path>
            </a:pathLst>
          </a:cu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F59EC7-7F75-4425-84B9-5F81AA26E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IN" dirty="0"/>
              <a:t>What conclusions can you draw from this chart? </a:t>
            </a:r>
          </a:p>
        </p:txBody>
      </p:sp>
      <p:sp>
        <p:nvSpPr>
          <p:cNvPr id="4" name="Google Shape;14;p11">
            <a:extLst>
              <a:ext uri="{FF2B5EF4-FFF2-40B4-BE49-F238E27FC236}">
                <a16:creationId xmlns:a16="http://schemas.microsoft.com/office/drawing/2014/main" id="{523CACD1-B6E9-484D-A93B-291133AC6C74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5" name="Google Shape;16;p11">
            <a:extLst>
              <a:ext uri="{FF2B5EF4-FFF2-40B4-BE49-F238E27FC236}">
                <a16:creationId xmlns:a16="http://schemas.microsoft.com/office/drawing/2014/main" id="{9784C0D3-4933-4B52-8B1E-2435F19A276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0" marR="0" lvl="1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0" marR="0" lvl="2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0" marR="0" lvl="3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0" marR="0" lvl="4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0" marR="0" lvl="5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0" marR="0" lvl="6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0" marR="0" lvl="7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0" marR="0" lvl="8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8</a:t>
            </a:fld>
            <a:endParaRPr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A28E0E7-1095-4348-9191-39D9F6BA3313}"/>
              </a:ext>
            </a:extLst>
          </p:cNvPr>
          <p:cNvSpPr txBox="1">
            <a:spLocks/>
          </p:cNvSpPr>
          <p:nvPr/>
        </p:nvSpPr>
        <p:spPr>
          <a:xfrm>
            <a:off x="1097280" y="1833209"/>
            <a:ext cx="10058400" cy="3385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spcFirstLastPara="1" wrap="square" lIns="91440" tIns="45720" rIns="91440" bIns="4572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600" b="1" dirty="0">
                <a:solidFill>
                  <a:schemeClr val="bg1"/>
                </a:solidFill>
              </a:rPr>
              <a:t>Civilian labor force participation rate, seasonally adjusted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14B3064C-200B-4C54-9E29-753DCD234E7A}"/>
              </a:ext>
            </a:extLst>
          </p:cNvPr>
          <p:cNvSpPr txBox="1">
            <a:spLocks/>
          </p:cNvSpPr>
          <p:nvPr/>
        </p:nvSpPr>
        <p:spPr>
          <a:xfrm>
            <a:off x="1092199" y="5591983"/>
            <a:ext cx="10120283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000" dirty="0"/>
              <a:t>Hover over chart to view data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000" dirty="0"/>
              <a:t>Note: Shaded area represents recession, as determined by the National Bureau of Economic Research. Persons whose ethnicity is identified as Hispanic or Latino may be of any race</a:t>
            </a:r>
            <a:br>
              <a:rPr lang="en-IN" sz="1000" dirty="0"/>
            </a:br>
            <a:r>
              <a:rPr lang="en-IN" sz="1000" dirty="0"/>
              <a:t>Source: U.S. Bureau of Labor Statistics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56A64F1E-0F8C-4D15-BF64-1E81211EE25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1126101"/>
              </p:ext>
            </p:extLst>
          </p:nvPr>
        </p:nvGraphicFramePr>
        <p:xfrm>
          <a:off x="1097280" y="2105025"/>
          <a:ext cx="10058400" cy="3043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D7F0225-DD5C-44B6-926D-756305D15DE0}"/>
              </a:ext>
            </a:extLst>
          </p:cNvPr>
          <p:cNvSpPr txBox="1">
            <a:spLocks/>
          </p:cNvSpPr>
          <p:nvPr/>
        </p:nvSpPr>
        <p:spPr>
          <a:xfrm>
            <a:off x="2407082" y="5205370"/>
            <a:ext cx="3735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200" dirty="0"/>
              <a:t>Tota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DA1920F-3A8A-4F77-BBBD-8D7B4A87D1FC}"/>
              </a:ext>
            </a:extLst>
          </p:cNvPr>
          <p:cNvCxnSpPr>
            <a:cxnSpLocks/>
          </p:cNvCxnSpPr>
          <p:nvPr/>
        </p:nvCxnSpPr>
        <p:spPr>
          <a:xfrm>
            <a:off x="2033702" y="5297703"/>
            <a:ext cx="31242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A84F235-7C8F-43F0-881F-5CBF067F496B}"/>
              </a:ext>
            </a:extLst>
          </p:cNvPr>
          <p:cNvSpPr txBox="1">
            <a:spLocks/>
          </p:cNvSpPr>
          <p:nvPr/>
        </p:nvSpPr>
        <p:spPr>
          <a:xfrm>
            <a:off x="3344342" y="5205370"/>
            <a:ext cx="171841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200" dirty="0"/>
              <a:t>Men, 20 years and older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167EBB8-8754-4E79-B2C2-3EEF8B01D8FD}"/>
              </a:ext>
            </a:extLst>
          </p:cNvPr>
          <p:cNvCxnSpPr>
            <a:cxnSpLocks/>
          </p:cNvCxnSpPr>
          <p:nvPr/>
        </p:nvCxnSpPr>
        <p:spPr>
          <a:xfrm>
            <a:off x="2970962" y="5297703"/>
            <a:ext cx="31242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5611CF5-0C96-4BE3-9E8C-BE9148D04167}"/>
              </a:ext>
            </a:extLst>
          </p:cNvPr>
          <p:cNvSpPr txBox="1">
            <a:spLocks/>
          </p:cNvSpPr>
          <p:nvPr/>
        </p:nvSpPr>
        <p:spPr>
          <a:xfrm>
            <a:off x="5569382" y="5205370"/>
            <a:ext cx="1971694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200" dirty="0"/>
              <a:t>Women, 20 years and older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824D866-8191-4192-8DA4-93EAF14DBA6B}"/>
              </a:ext>
            </a:extLst>
          </p:cNvPr>
          <p:cNvCxnSpPr>
            <a:cxnSpLocks/>
          </p:cNvCxnSpPr>
          <p:nvPr/>
        </p:nvCxnSpPr>
        <p:spPr>
          <a:xfrm>
            <a:off x="5196002" y="5297703"/>
            <a:ext cx="31242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DCE38B6-9A8F-4577-95F5-082A69096739}"/>
              </a:ext>
            </a:extLst>
          </p:cNvPr>
          <p:cNvSpPr txBox="1">
            <a:spLocks/>
          </p:cNvSpPr>
          <p:nvPr/>
        </p:nvSpPr>
        <p:spPr>
          <a:xfrm>
            <a:off x="8015402" y="5205370"/>
            <a:ext cx="125034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200" dirty="0"/>
              <a:t>16 to 19 years old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58F3E5B-E421-4C83-AC46-1A0EBC96ACE2}"/>
              </a:ext>
            </a:extLst>
          </p:cNvPr>
          <p:cNvCxnSpPr>
            <a:cxnSpLocks/>
          </p:cNvCxnSpPr>
          <p:nvPr/>
        </p:nvCxnSpPr>
        <p:spPr>
          <a:xfrm>
            <a:off x="7642022" y="5297703"/>
            <a:ext cx="312420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3114CEC-E9B0-400D-8989-34AB9EA5FCB1}"/>
              </a:ext>
            </a:extLst>
          </p:cNvPr>
          <p:cNvSpPr txBox="1">
            <a:spLocks/>
          </p:cNvSpPr>
          <p:nvPr/>
        </p:nvSpPr>
        <p:spPr>
          <a:xfrm>
            <a:off x="9722282" y="5205370"/>
            <a:ext cx="436017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200" dirty="0"/>
              <a:t>White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EAD7D8A-DD34-4263-90D8-C5EC7243F20E}"/>
              </a:ext>
            </a:extLst>
          </p:cNvPr>
          <p:cNvCxnSpPr>
            <a:cxnSpLocks/>
          </p:cNvCxnSpPr>
          <p:nvPr/>
        </p:nvCxnSpPr>
        <p:spPr>
          <a:xfrm>
            <a:off x="9348902" y="5297703"/>
            <a:ext cx="312420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DE75304-2EA3-4F4F-B11F-9163BBA8E972}"/>
              </a:ext>
            </a:extLst>
          </p:cNvPr>
          <p:cNvSpPr txBox="1">
            <a:spLocks/>
          </p:cNvSpPr>
          <p:nvPr/>
        </p:nvSpPr>
        <p:spPr>
          <a:xfrm>
            <a:off x="2407082" y="5390036"/>
            <a:ext cx="1872307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200" dirty="0"/>
              <a:t>Black or African American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A29D62C-2E76-4709-8150-C11FB5A94CCD}"/>
              </a:ext>
            </a:extLst>
          </p:cNvPr>
          <p:cNvCxnSpPr>
            <a:cxnSpLocks/>
          </p:cNvCxnSpPr>
          <p:nvPr/>
        </p:nvCxnSpPr>
        <p:spPr>
          <a:xfrm>
            <a:off x="2033702" y="5482369"/>
            <a:ext cx="312420" cy="0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0787BC58-AF36-4080-9E34-8DCC063B208C}"/>
              </a:ext>
            </a:extLst>
          </p:cNvPr>
          <p:cNvSpPr txBox="1">
            <a:spLocks/>
          </p:cNvSpPr>
          <p:nvPr/>
        </p:nvSpPr>
        <p:spPr>
          <a:xfrm>
            <a:off x="5569382" y="5399442"/>
            <a:ext cx="402354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200" dirty="0"/>
              <a:t>Asian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25C71F0-24D9-4A96-8503-3BC7E8B0C168}"/>
              </a:ext>
            </a:extLst>
          </p:cNvPr>
          <p:cNvCxnSpPr>
            <a:cxnSpLocks/>
          </p:cNvCxnSpPr>
          <p:nvPr/>
        </p:nvCxnSpPr>
        <p:spPr>
          <a:xfrm>
            <a:off x="5196002" y="5491775"/>
            <a:ext cx="312420" cy="0"/>
          </a:xfrm>
          <a:prstGeom prst="line">
            <a:avLst/>
          </a:prstGeom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FC8B2A6-2C3C-4BA4-9867-FF579034CB76}"/>
              </a:ext>
            </a:extLst>
          </p:cNvPr>
          <p:cNvSpPr txBox="1">
            <a:spLocks/>
          </p:cNvSpPr>
          <p:nvPr/>
        </p:nvSpPr>
        <p:spPr>
          <a:xfrm>
            <a:off x="8015402" y="5399442"/>
            <a:ext cx="129202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200" dirty="0"/>
              <a:t>Hispanic or Latino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271EF29-CD53-4783-ABF4-10220BD8D093}"/>
              </a:ext>
            </a:extLst>
          </p:cNvPr>
          <p:cNvCxnSpPr>
            <a:cxnSpLocks/>
          </p:cNvCxnSpPr>
          <p:nvPr/>
        </p:nvCxnSpPr>
        <p:spPr>
          <a:xfrm>
            <a:off x="7642022" y="5491775"/>
            <a:ext cx="312420" cy="0"/>
          </a:xfrm>
          <a:prstGeom prst="line">
            <a:avLst/>
          </a:prstGeom>
          <a:ln w="28575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25994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F71748D-9BAC-4CD3-B8EF-1C01B0C59E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3971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9" name="think-cell Slide" r:id="rId6" imgW="353" imgH="363" progId="TCLayout.ActiveDocument.1">
                  <p:embed/>
                </p:oleObj>
              </mc:Choice>
              <mc:Fallback>
                <p:oleObj name="think-cell Slide" r:id="rId6" imgW="353" imgH="36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F71748D-9BAC-4CD3-B8EF-1C01B0C59E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3DB473B-449D-40A2-B039-9519995270C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IN" sz="4800" dirty="0">
              <a:latin typeface="Libre Franklin Thin" panose="020B0604020202020204" charset="0"/>
              <a:sym typeface="Libre Franklin Thin" panose="020B0604020202020204" charset="0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D119157A-0048-4CDC-89D7-F53FA56BB52C}"/>
              </a:ext>
            </a:extLst>
          </p:cNvPr>
          <p:cNvSpPr txBox="1">
            <a:spLocks/>
          </p:cNvSpPr>
          <p:nvPr/>
        </p:nvSpPr>
        <p:spPr>
          <a:xfrm>
            <a:off x="1972006" y="2323514"/>
            <a:ext cx="149871" cy="255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40" tIns="45720" rIns="91440" bIns="4572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en-IN" sz="1600" b="1" dirty="0">
              <a:solidFill>
                <a:schemeClr val="bg1"/>
              </a:solidFill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8F045E57-3D5B-4F31-A850-E5234F4669C1}"/>
              </a:ext>
            </a:extLst>
          </p:cNvPr>
          <p:cNvSpPr txBox="1">
            <a:spLocks/>
          </p:cNvSpPr>
          <p:nvPr/>
        </p:nvSpPr>
        <p:spPr>
          <a:xfrm>
            <a:off x="4895054" y="2323514"/>
            <a:ext cx="521008" cy="255600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spcFirstLastPara="1" wrap="square" lIns="91440" tIns="45720" rIns="91440" bIns="4572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endParaRPr lang="en-IN" sz="1600" b="1" dirty="0">
              <a:solidFill>
                <a:schemeClr val="bg1"/>
              </a:solidFill>
            </a:endParaRPr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E8E5C955-410A-4571-A67D-E2695CE9EEFD}"/>
              </a:ext>
            </a:extLst>
          </p:cNvPr>
          <p:cNvSpPr/>
          <p:nvPr/>
        </p:nvSpPr>
        <p:spPr>
          <a:xfrm>
            <a:off x="1889760" y="2735580"/>
            <a:ext cx="8884920" cy="297180"/>
          </a:xfrm>
          <a:custGeom>
            <a:avLst/>
            <a:gdLst>
              <a:gd name="connsiteX0" fmla="*/ 0 w 8884920"/>
              <a:gd name="connsiteY0" fmla="*/ 38100 h 297180"/>
              <a:gd name="connsiteX1" fmla="*/ 53340 w 8884920"/>
              <a:gd name="connsiteY1" fmla="*/ 0 h 297180"/>
              <a:gd name="connsiteX2" fmla="*/ 198120 w 8884920"/>
              <a:gd name="connsiteY2" fmla="*/ 83820 h 297180"/>
              <a:gd name="connsiteX3" fmla="*/ 274320 w 8884920"/>
              <a:gd name="connsiteY3" fmla="*/ 60960 h 297180"/>
              <a:gd name="connsiteX4" fmla="*/ 365760 w 8884920"/>
              <a:gd name="connsiteY4" fmla="*/ 45720 h 297180"/>
              <a:gd name="connsiteX5" fmla="*/ 434340 w 8884920"/>
              <a:gd name="connsiteY5" fmla="*/ 68580 h 297180"/>
              <a:gd name="connsiteX6" fmla="*/ 533400 w 8884920"/>
              <a:gd name="connsiteY6" fmla="*/ 38100 h 297180"/>
              <a:gd name="connsiteX7" fmla="*/ 586740 w 8884920"/>
              <a:gd name="connsiteY7" fmla="*/ 60960 h 297180"/>
              <a:gd name="connsiteX8" fmla="*/ 708660 w 8884920"/>
              <a:gd name="connsiteY8" fmla="*/ 60960 h 297180"/>
              <a:gd name="connsiteX9" fmla="*/ 807720 w 8884920"/>
              <a:gd name="connsiteY9" fmla="*/ 91440 h 297180"/>
              <a:gd name="connsiteX10" fmla="*/ 899160 w 8884920"/>
              <a:gd name="connsiteY10" fmla="*/ 60960 h 297180"/>
              <a:gd name="connsiteX11" fmla="*/ 1059180 w 8884920"/>
              <a:gd name="connsiteY11" fmla="*/ 106680 h 297180"/>
              <a:gd name="connsiteX12" fmla="*/ 1112520 w 8884920"/>
              <a:gd name="connsiteY12" fmla="*/ 106680 h 297180"/>
              <a:gd name="connsiteX13" fmla="*/ 1181100 w 8884920"/>
              <a:gd name="connsiteY13" fmla="*/ 129540 h 297180"/>
              <a:gd name="connsiteX14" fmla="*/ 1348740 w 8884920"/>
              <a:gd name="connsiteY14" fmla="*/ 91440 h 297180"/>
              <a:gd name="connsiteX15" fmla="*/ 1432560 w 8884920"/>
              <a:gd name="connsiteY15" fmla="*/ 68580 h 297180"/>
              <a:gd name="connsiteX16" fmla="*/ 1653540 w 8884920"/>
              <a:gd name="connsiteY16" fmla="*/ 99060 h 297180"/>
              <a:gd name="connsiteX17" fmla="*/ 1775460 w 8884920"/>
              <a:gd name="connsiteY17" fmla="*/ 114300 h 297180"/>
              <a:gd name="connsiteX18" fmla="*/ 1897380 w 8884920"/>
              <a:gd name="connsiteY18" fmla="*/ 106680 h 297180"/>
              <a:gd name="connsiteX19" fmla="*/ 2004060 w 8884920"/>
              <a:gd name="connsiteY19" fmla="*/ 106680 h 297180"/>
              <a:gd name="connsiteX20" fmla="*/ 2095500 w 8884920"/>
              <a:gd name="connsiteY20" fmla="*/ 121920 h 297180"/>
              <a:gd name="connsiteX21" fmla="*/ 2255520 w 8884920"/>
              <a:gd name="connsiteY21" fmla="*/ 76200 h 297180"/>
              <a:gd name="connsiteX22" fmla="*/ 2446020 w 8884920"/>
              <a:gd name="connsiteY22" fmla="*/ 68580 h 297180"/>
              <a:gd name="connsiteX23" fmla="*/ 2506980 w 8884920"/>
              <a:gd name="connsiteY23" fmla="*/ 106680 h 297180"/>
              <a:gd name="connsiteX24" fmla="*/ 2636520 w 8884920"/>
              <a:gd name="connsiteY24" fmla="*/ 60960 h 297180"/>
              <a:gd name="connsiteX25" fmla="*/ 2804160 w 8884920"/>
              <a:gd name="connsiteY25" fmla="*/ 91440 h 297180"/>
              <a:gd name="connsiteX26" fmla="*/ 2903220 w 8884920"/>
              <a:gd name="connsiteY26" fmla="*/ 60960 h 297180"/>
              <a:gd name="connsiteX27" fmla="*/ 2994660 w 8884920"/>
              <a:gd name="connsiteY27" fmla="*/ 83820 h 297180"/>
              <a:gd name="connsiteX28" fmla="*/ 3246120 w 8884920"/>
              <a:gd name="connsiteY28" fmla="*/ 83820 h 297180"/>
              <a:gd name="connsiteX29" fmla="*/ 3291840 w 8884920"/>
              <a:gd name="connsiteY29" fmla="*/ 83820 h 297180"/>
              <a:gd name="connsiteX30" fmla="*/ 3406140 w 8884920"/>
              <a:gd name="connsiteY30" fmla="*/ 83820 h 297180"/>
              <a:gd name="connsiteX31" fmla="*/ 3581400 w 8884920"/>
              <a:gd name="connsiteY31" fmla="*/ 137160 h 297180"/>
              <a:gd name="connsiteX32" fmla="*/ 3680460 w 8884920"/>
              <a:gd name="connsiteY32" fmla="*/ 99060 h 297180"/>
              <a:gd name="connsiteX33" fmla="*/ 3733800 w 8884920"/>
              <a:gd name="connsiteY33" fmla="*/ 114300 h 297180"/>
              <a:gd name="connsiteX34" fmla="*/ 3802380 w 8884920"/>
              <a:gd name="connsiteY34" fmla="*/ 83820 h 297180"/>
              <a:gd name="connsiteX35" fmla="*/ 3893820 w 8884920"/>
              <a:gd name="connsiteY35" fmla="*/ 137160 h 297180"/>
              <a:gd name="connsiteX36" fmla="*/ 3977640 w 8884920"/>
              <a:gd name="connsiteY36" fmla="*/ 137160 h 297180"/>
              <a:gd name="connsiteX37" fmla="*/ 4023360 w 8884920"/>
              <a:gd name="connsiteY37" fmla="*/ 114300 h 297180"/>
              <a:gd name="connsiteX38" fmla="*/ 4091940 w 8884920"/>
              <a:gd name="connsiteY38" fmla="*/ 106680 h 297180"/>
              <a:gd name="connsiteX39" fmla="*/ 4152900 w 8884920"/>
              <a:gd name="connsiteY39" fmla="*/ 152400 h 297180"/>
              <a:gd name="connsiteX40" fmla="*/ 4251960 w 8884920"/>
              <a:gd name="connsiteY40" fmla="*/ 114300 h 297180"/>
              <a:gd name="connsiteX41" fmla="*/ 4328160 w 8884920"/>
              <a:gd name="connsiteY41" fmla="*/ 121920 h 297180"/>
              <a:gd name="connsiteX42" fmla="*/ 4389120 w 8884920"/>
              <a:gd name="connsiteY42" fmla="*/ 175260 h 297180"/>
              <a:gd name="connsiteX43" fmla="*/ 4442460 w 8884920"/>
              <a:gd name="connsiteY43" fmla="*/ 167640 h 297180"/>
              <a:gd name="connsiteX44" fmla="*/ 4465320 w 8884920"/>
              <a:gd name="connsiteY44" fmla="*/ 198120 h 297180"/>
              <a:gd name="connsiteX45" fmla="*/ 4564380 w 8884920"/>
              <a:gd name="connsiteY45" fmla="*/ 190500 h 297180"/>
              <a:gd name="connsiteX46" fmla="*/ 4564380 w 8884920"/>
              <a:gd name="connsiteY46" fmla="*/ 190500 h 297180"/>
              <a:gd name="connsiteX47" fmla="*/ 4716780 w 8884920"/>
              <a:gd name="connsiteY47" fmla="*/ 182880 h 297180"/>
              <a:gd name="connsiteX48" fmla="*/ 4800600 w 8884920"/>
              <a:gd name="connsiteY48" fmla="*/ 144780 h 297180"/>
              <a:gd name="connsiteX49" fmla="*/ 4846320 w 8884920"/>
              <a:gd name="connsiteY49" fmla="*/ 182880 h 297180"/>
              <a:gd name="connsiteX50" fmla="*/ 4914900 w 8884920"/>
              <a:gd name="connsiteY50" fmla="*/ 167640 h 297180"/>
              <a:gd name="connsiteX51" fmla="*/ 4983480 w 8884920"/>
              <a:gd name="connsiteY51" fmla="*/ 190500 h 297180"/>
              <a:gd name="connsiteX52" fmla="*/ 5074920 w 8884920"/>
              <a:gd name="connsiteY52" fmla="*/ 160020 h 297180"/>
              <a:gd name="connsiteX53" fmla="*/ 5143500 w 8884920"/>
              <a:gd name="connsiteY53" fmla="*/ 182880 h 297180"/>
              <a:gd name="connsiteX54" fmla="*/ 5257800 w 8884920"/>
              <a:gd name="connsiteY54" fmla="*/ 190500 h 297180"/>
              <a:gd name="connsiteX55" fmla="*/ 5326380 w 8884920"/>
              <a:gd name="connsiteY55" fmla="*/ 205740 h 297180"/>
              <a:gd name="connsiteX56" fmla="*/ 5387340 w 8884920"/>
              <a:gd name="connsiteY56" fmla="*/ 182880 h 297180"/>
              <a:gd name="connsiteX57" fmla="*/ 5417820 w 8884920"/>
              <a:gd name="connsiteY57" fmla="*/ 228600 h 297180"/>
              <a:gd name="connsiteX58" fmla="*/ 5486400 w 8884920"/>
              <a:gd name="connsiteY58" fmla="*/ 205740 h 297180"/>
              <a:gd name="connsiteX59" fmla="*/ 5562600 w 8884920"/>
              <a:gd name="connsiteY59" fmla="*/ 182880 h 297180"/>
              <a:gd name="connsiteX60" fmla="*/ 5661660 w 8884920"/>
              <a:gd name="connsiteY60" fmla="*/ 205740 h 297180"/>
              <a:gd name="connsiteX61" fmla="*/ 5715000 w 8884920"/>
              <a:gd name="connsiteY61" fmla="*/ 205740 h 297180"/>
              <a:gd name="connsiteX62" fmla="*/ 5836920 w 8884920"/>
              <a:gd name="connsiteY62" fmla="*/ 198120 h 297180"/>
              <a:gd name="connsiteX63" fmla="*/ 5875020 w 8884920"/>
              <a:gd name="connsiteY63" fmla="*/ 205740 h 297180"/>
              <a:gd name="connsiteX64" fmla="*/ 5996940 w 8884920"/>
              <a:gd name="connsiteY64" fmla="*/ 160020 h 297180"/>
              <a:gd name="connsiteX65" fmla="*/ 6050280 w 8884920"/>
              <a:gd name="connsiteY65" fmla="*/ 190500 h 297180"/>
              <a:gd name="connsiteX66" fmla="*/ 6141720 w 8884920"/>
              <a:gd name="connsiteY66" fmla="*/ 175260 h 297180"/>
              <a:gd name="connsiteX67" fmla="*/ 6172200 w 8884920"/>
              <a:gd name="connsiteY67" fmla="*/ 182880 h 297180"/>
              <a:gd name="connsiteX68" fmla="*/ 6225540 w 8884920"/>
              <a:gd name="connsiteY68" fmla="*/ 182880 h 297180"/>
              <a:gd name="connsiteX69" fmla="*/ 6301740 w 8884920"/>
              <a:gd name="connsiteY69" fmla="*/ 190500 h 297180"/>
              <a:gd name="connsiteX70" fmla="*/ 6416040 w 8884920"/>
              <a:gd name="connsiteY70" fmla="*/ 175260 h 297180"/>
              <a:gd name="connsiteX71" fmla="*/ 6507480 w 8884920"/>
              <a:gd name="connsiteY71" fmla="*/ 228600 h 297180"/>
              <a:gd name="connsiteX72" fmla="*/ 6614160 w 8884920"/>
              <a:gd name="connsiteY72" fmla="*/ 220980 h 297180"/>
              <a:gd name="connsiteX73" fmla="*/ 6736080 w 8884920"/>
              <a:gd name="connsiteY73" fmla="*/ 175260 h 297180"/>
              <a:gd name="connsiteX74" fmla="*/ 6804660 w 8884920"/>
              <a:gd name="connsiteY74" fmla="*/ 205740 h 297180"/>
              <a:gd name="connsiteX75" fmla="*/ 6941820 w 8884920"/>
              <a:gd name="connsiteY75" fmla="*/ 190500 h 297180"/>
              <a:gd name="connsiteX76" fmla="*/ 7063740 w 8884920"/>
              <a:gd name="connsiteY76" fmla="*/ 228600 h 297180"/>
              <a:gd name="connsiteX77" fmla="*/ 7208520 w 8884920"/>
              <a:gd name="connsiteY77" fmla="*/ 160020 h 297180"/>
              <a:gd name="connsiteX78" fmla="*/ 7292340 w 8884920"/>
              <a:gd name="connsiteY78" fmla="*/ 198120 h 297180"/>
              <a:gd name="connsiteX79" fmla="*/ 7345680 w 8884920"/>
              <a:gd name="connsiteY79" fmla="*/ 175260 h 297180"/>
              <a:gd name="connsiteX80" fmla="*/ 7368540 w 8884920"/>
              <a:gd name="connsiteY80" fmla="*/ 205740 h 297180"/>
              <a:gd name="connsiteX81" fmla="*/ 7406640 w 8884920"/>
              <a:gd name="connsiteY81" fmla="*/ 190500 h 297180"/>
              <a:gd name="connsiteX82" fmla="*/ 7452360 w 8884920"/>
              <a:gd name="connsiteY82" fmla="*/ 213360 h 297180"/>
              <a:gd name="connsiteX83" fmla="*/ 7597140 w 8884920"/>
              <a:gd name="connsiteY83" fmla="*/ 175260 h 297180"/>
              <a:gd name="connsiteX84" fmla="*/ 7642860 w 8884920"/>
              <a:gd name="connsiteY84" fmla="*/ 205740 h 297180"/>
              <a:gd name="connsiteX85" fmla="*/ 7673340 w 8884920"/>
              <a:gd name="connsiteY85" fmla="*/ 160020 h 297180"/>
              <a:gd name="connsiteX86" fmla="*/ 7772400 w 8884920"/>
              <a:gd name="connsiteY86" fmla="*/ 144780 h 297180"/>
              <a:gd name="connsiteX87" fmla="*/ 7833360 w 8884920"/>
              <a:gd name="connsiteY87" fmla="*/ 198120 h 297180"/>
              <a:gd name="connsiteX88" fmla="*/ 7985760 w 8884920"/>
              <a:gd name="connsiteY88" fmla="*/ 137160 h 297180"/>
              <a:gd name="connsiteX89" fmla="*/ 8023860 w 8884920"/>
              <a:gd name="connsiteY89" fmla="*/ 182880 h 297180"/>
              <a:gd name="connsiteX90" fmla="*/ 8069580 w 8884920"/>
              <a:gd name="connsiteY90" fmla="*/ 144780 h 297180"/>
              <a:gd name="connsiteX91" fmla="*/ 8122920 w 8884920"/>
              <a:gd name="connsiteY91" fmla="*/ 182880 h 297180"/>
              <a:gd name="connsiteX92" fmla="*/ 8359140 w 8884920"/>
              <a:gd name="connsiteY92" fmla="*/ 129540 h 297180"/>
              <a:gd name="connsiteX93" fmla="*/ 8412480 w 8884920"/>
              <a:gd name="connsiteY93" fmla="*/ 152400 h 297180"/>
              <a:gd name="connsiteX94" fmla="*/ 8503920 w 8884920"/>
              <a:gd name="connsiteY94" fmla="*/ 114300 h 297180"/>
              <a:gd name="connsiteX95" fmla="*/ 8549640 w 8884920"/>
              <a:gd name="connsiteY95" fmla="*/ 297180 h 297180"/>
              <a:gd name="connsiteX96" fmla="*/ 8648700 w 8884920"/>
              <a:gd name="connsiteY96" fmla="*/ 205740 h 297180"/>
              <a:gd name="connsiteX97" fmla="*/ 8702040 w 8884920"/>
              <a:gd name="connsiteY97" fmla="*/ 274320 h 297180"/>
              <a:gd name="connsiteX98" fmla="*/ 8717280 w 8884920"/>
              <a:gd name="connsiteY98" fmla="*/ 213360 h 297180"/>
              <a:gd name="connsiteX99" fmla="*/ 8724900 w 8884920"/>
              <a:gd name="connsiteY99" fmla="*/ 228600 h 297180"/>
              <a:gd name="connsiteX100" fmla="*/ 8808720 w 8884920"/>
              <a:gd name="connsiteY100" fmla="*/ 205740 h 297180"/>
              <a:gd name="connsiteX101" fmla="*/ 8884920 w 8884920"/>
              <a:gd name="connsiteY101" fmla="*/ 236220 h 2971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8884920" h="297180">
                <a:moveTo>
                  <a:pt x="0" y="38100"/>
                </a:moveTo>
                <a:lnTo>
                  <a:pt x="53340" y="0"/>
                </a:lnTo>
                <a:lnTo>
                  <a:pt x="198120" y="83820"/>
                </a:lnTo>
                <a:lnTo>
                  <a:pt x="274320" y="60960"/>
                </a:lnTo>
                <a:lnTo>
                  <a:pt x="365760" y="45720"/>
                </a:lnTo>
                <a:lnTo>
                  <a:pt x="434340" y="68580"/>
                </a:lnTo>
                <a:lnTo>
                  <a:pt x="533400" y="38100"/>
                </a:lnTo>
                <a:lnTo>
                  <a:pt x="586740" y="60960"/>
                </a:lnTo>
                <a:lnTo>
                  <a:pt x="708660" y="60960"/>
                </a:lnTo>
                <a:lnTo>
                  <a:pt x="807720" y="91440"/>
                </a:lnTo>
                <a:lnTo>
                  <a:pt x="899160" y="60960"/>
                </a:lnTo>
                <a:lnTo>
                  <a:pt x="1059180" y="106680"/>
                </a:lnTo>
                <a:lnTo>
                  <a:pt x="1112520" y="106680"/>
                </a:lnTo>
                <a:lnTo>
                  <a:pt x="1181100" y="129540"/>
                </a:lnTo>
                <a:lnTo>
                  <a:pt x="1348740" y="91440"/>
                </a:lnTo>
                <a:lnTo>
                  <a:pt x="1432560" y="68580"/>
                </a:lnTo>
                <a:lnTo>
                  <a:pt x="1653540" y="99060"/>
                </a:lnTo>
                <a:lnTo>
                  <a:pt x="1775460" y="114300"/>
                </a:lnTo>
                <a:lnTo>
                  <a:pt x="1897380" y="106680"/>
                </a:lnTo>
                <a:lnTo>
                  <a:pt x="2004060" y="106680"/>
                </a:lnTo>
                <a:lnTo>
                  <a:pt x="2095500" y="121920"/>
                </a:lnTo>
                <a:lnTo>
                  <a:pt x="2255520" y="76200"/>
                </a:lnTo>
                <a:lnTo>
                  <a:pt x="2446020" y="68580"/>
                </a:lnTo>
                <a:lnTo>
                  <a:pt x="2506980" y="106680"/>
                </a:lnTo>
                <a:lnTo>
                  <a:pt x="2636520" y="60960"/>
                </a:lnTo>
                <a:lnTo>
                  <a:pt x="2804160" y="91440"/>
                </a:lnTo>
                <a:lnTo>
                  <a:pt x="2903220" y="60960"/>
                </a:lnTo>
                <a:lnTo>
                  <a:pt x="2994660" y="83820"/>
                </a:lnTo>
                <a:lnTo>
                  <a:pt x="3246120" y="83820"/>
                </a:lnTo>
                <a:lnTo>
                  <a:pt x="3291840" y="83820"/>
                </a:lnTo>
                <a:lnTo>
                  <a:pt x="3406140" y="83820"/>
                </a:lnTo>
                <a:lnTo>
                  <a:pt x="3581400" y="137160"/>
                </a:lnTo>
                <a:lnTo>
                  <a:pt x="3680460" y="99060"/>
                </a:lnTo>
                <a:lnTo>
                  <a:pt x="3733800" y="114300"/>
                </a:lnTo>
                <a:lnTo>
                  <a:pt x="3802380" y="83820"/>
                </a:lnTo>
                <a:lnTo>
                  <a:pt x="3893820" y="137160"/>
                </a:lnTo>
                <a:lnTo>
                  <a:pt x="3977640" y="137160"/>
                </a:lnTo>
                <a:lnTo>
                  <a:pt x="4023360" y="114300"/>
                </a:lnTo>
                <a:lnTo>
                  <a:pt x="4091940" y="106680"/>
                </a:lnTo>
                <a:lnTo>
                  <a:pt x="4152900" y="152400"/>
                </a:lnTo>
                <a:lnTo>
                  <a:pt x="4251960" y="114300"/>
                </a:lnTo>
                <a:lnTo>
                  <a:pt x="4328160" y="121920"/>
                </a:lnTo>
                <a:lnTo>
                  <a:pt x="4389120" y="175260"/>
                </a:lnTo>
                <a:lnTo>
                  <a:pt x="4442460" y="167640"/>
                </a:lnTo>
                <a:lnTo>
                  <a:pt x="4465320" y="198120"/>
                </a:lnTo>
                <a:lnTo>
                  <a:pt x="4564380" y="190500"/>
                </a:lnTo>
                <a:lnTo>
                  <a:pt x="4564380" y="190500"/>
                </a:lnTo>
                <a:lnTo>
                  <a:pt x="4716780" y="182880"/>
                </a:lnTo>
                <a:lnTo>
                  <a:pt x="4800600" y="144780"/>
                </a:lnTo>
                <a:lnTo>
                  <a:pt x="4846320" y="182880"/>
                </a:lnTo>
                <a:lnTo>
                  <a:pt x="4914900" y="167640"/>
                </a:lnTo>
                <a:lnTo>
                  <a:pt x="4983480" y="190500"/>
                </a:lnTo>
                <a:lnTo>
                  <a:pt x="5074920" y="160020"/>
                </a:lnTo>
                <a:lnTo>
                  <a:pt x="5143500" y="182880"/>
                </a:lnTo>
                <a:lnTo>
                  <a:pt x="5257800" y="190500"/>
                </a:lnTo>
                <a:lnTo>
                  <a:pt x="5326380" y="205740"/>
                </a:lnTo>
                <a:lnTo>
                  <a:pt x="5387340" y="182880"/>
                </a:lnTo>
                <a:lnTo>
                  <a:pt x="5417820" y="228600"/>
                </a:lnTo>
                <a:lnTo>
                  <a:pt x="5486400" y="205740"/>
                </a:lnTo>
                <a:lnTo>
                  <a:pt x="5562600" y="182880"/>
                </a:lnTo>
                <a:lnTo>
                  <a:pt x="5661660" y="205740"/>
                </a:lnTo>
                <a:lnTo>
                  <a:pt x="5715000" y="205740"/>
                </a:lnTo>
                <a:lnTo>
                  <a:pt x="5836920" y="198120"/>
                </a:lnTo>
                <a:lnTo>
                  <a:pt x="5875020" y="205740"/>
                </a:lnTo>
                <a:lnTo>
                  <a:pt x="5996940" y="160020"/>
                </a:lnTo>
                <a:lnTo>
                  <a:pt x="6050280" y="190500"/>
                </a:lnTo>
                <a:lnTo>
                  <a:pt x="6141720" y="175260"/>
                </a:lnTo>
                <a:lnTo>
                  <a:pt x="6172200" y="182880"/>
                </a:lnTo>
                <a:lnTo>
                  <a:pt x="6225540" y="182880"/>
                </a:lnTo>
                <a:lnTo>
                  <a:pt x="6301740" y="190500"/>
                </a:lnTo>
                <a:lnTo>
                  <a:pt x="6416040" y="175260"/>
                </a:lnTo>
                <a:lnTo>
                  <a:pt x="6507480" y="228600"/>
                </a:lnTo>
                <a:lnTo>
                  <a:pt x="6614160" y="220980"/>
                </a:lnTo>
                <a:lnTo>
                  <a:pt x="6736080" y="175260"/>
                </a:lnTo>
                <a:lnTo>
                  <a:pt x="6804660" y="205740"/>
                </a:lnTo>
                <a:lnTo>
                  <a:pt x="6941820" y="190500"/>
                </a:lnTo>
                <a:lnTo>
                  <a:pt x="7063740" y="228600"/>
                </a:lnTo>
                <a:lnTo>
                  <a:pt x="7208520" y="160020"/>
                </a:lnTo>
                <a:lnTo>
                  <a:pt x="7292340" y="198120"/>
                </a:lnTo>
                <a:lnTo>
                  <a:pt x="7345680" y="175260"/>
                </a:lnTo>
                <a:lnTo>
                  <a:pt x="7368540" y="205740"/>
                </a:lnTo>
                <a:lnTo>
                  <a:pt x="7406640" y="190500"/>
                </a:lnTo>
                <a:lnTo>
                  <a:pt x="7452360" y="213360"/>
                </a:lnTo>
                <a:lnTo>
                  <a:pt x="7597140" y="175260"/>
                </a:lnTo>
                <a:lnTo>
                  <a:pt x="7642860" y="205740"/>
                </a:lnTo>
                <a:lnTo>
                  <a:pt x="7673340" y="160020"/>
                </a:lnTo>
                <a:lnTo>
                  <a:pt x="7772400" y="144780"/>
                </a:lnTo>
                <a:lnTo>
                  <a:pt x="7833360" y="198120"/>
                </a:lnTo>
                <a:lnTo>
                  <a:pt x="7985760" y="137160"/>
                </a:lnTo>
                <a:lnTo>
                  <a:pt x="8023860" y="182880"/>
                </a:lnTo>
                <a:lnTo>
                  <a:pt x="8069580" y="144780"/>
                </a:lnTo>
                <a:lnTo>
                  <a:pt x="8122920" y="182880"/>
                </a:lnTo>
                <a:lnTo>
                  <a:pt x="8359140" y="129540"/>
                </a:lnTo>
                <a:lnTo>
                  <a:pt x="8412480" y="152400"/>
                </a:lnTo>
                <a:lnTo>
                  <a:pt x="8503920" y="114300"/>
                </a:lnTo>
                <a:lnTo>
                  <a:pt x="8549640" y="297180"/>
                </a:lnTo>
                <a:lnTo>
                  <a:pt x="8648700" y="205740"/>
                </a:lnTo>
                <a:lnTo>
                  <a:pt x="8702040" y="274320"/>
                </a:lnTo>
                <a:lnTo>
                  <a:pt x="8717280" y="213360"/>
                </a:lnTo>
                <a:lnTo>
                  <a:pt x="8724900" y="228600"/>
                </a:lnTo>
                <a:lnTo>
                  <a:pt x="8808720" y="205740"/>
                </a:lnTo>
                <a:lnTo>
                  <a:pt x="8884920" y="236220"/>
                </a:lnTo>
              </a:path>
            </a:pathLst>
          </a:custGeom>
          <a:ln w="28575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5B305663-5D10-4322-A158-94048D2756F9}"/>
              </a:ext>
            </a:extLst>
          </p:cNvPr>
          <p:cNvSpPr/>
          <p:nvPr/>
        </p:nvSpPr>
        <p:spPr>
          <a:xfrm>
            <a:off x="1897380" y="2849880"/>
            <a:ext cx="8862060" cy="289560"/>
          </a:xfrm>
          <a:custGeom>
            <a:avLst/>
            <a:gdLst>
              <a:gd name="connsiteX0" fmla="*/ 0 w 8862060"/>
              <a:gd name="connsiteY0" fmla="*/ 15240 h 289560"/>
              <a:gd name="connsiteX1" fmla="*/ 137160 w 8862060"/>
              <a:gd name="connsiteY1" fmla="*/ 45720 h 289560"/>
              <a:gd name="connsiteX2" fmla="*/ 228600 w 8862060"/>
              <a:gd name="connsiteY2" fmla="*/ 30480 h 289560"/>
              <a:gd name="connsiteX3" fmla="*/ 251460 w 8862060"/>
              <a:gd name="connsiteY3" fmla="*/ 68580 h 289560"/>
              <a:gd name="connsiteX4" fmla="*/ 381000 w 8862060"/>
              <a:gd name="connsiteY4" fmla="*/ 38100 h 289560"/>
              <a:gd name="connsiteX5" fmla="*/ 426720 w 8862060"/>
              <a:gd name="connsiteY5" fmla="*/ 60960 h 289560"/>
              <a:gd name="connsiteX6" fmla="*/ 457200 w 8862060"/>
              <a:gd name="connsiteY6" fmla="*/ 45720 h 289560"/>
              <a:gd name="connsiteX7" fmla="*/ 533400 w 8862060"/>
              <a:gd name="connsiteY7" fmla="*/ 68580 h 289560"/>
              <a:gd name="connsiteX8" fmla="*/ 594360 w 8862060"/>
              <a:gd name="connsiteY8" fmla="*/ 38100 h 289560"/>
              <a:gd name="connsiteX9" fmla="*/ 655320 w 8862060"/>
              <a:gd name="connsiteY9" fmla="*/ 60960 h 289560"/>
              <a:gd name="connsiteX10" fmla="*/ 723900 w 8862060"/>
              <a:gd name="connsiteY10" fmla="*/ 45720 h 289560"/>
              <a:gd name="connsiteX11" fmla="*/ 845820 w 8862060"/>
              <a:gd name="connsiteY11" fmla="*/ 60960 h 289560"/>
              <a:gd name="connsiteX12" fmla="*/ 891540 w 8862060"/>
              <a:gd name="connsiteY12" fmla="*/ 38100 h 289560"/>
              <a:gd name="connsiteX13" fmla="*/ 960120 w 8862060"/>
              <a:gd name="connsiteY13" fmla="*/ 53340 h 289560"/>
              <a:gd name="connsiteX14" fmla="*/ 1051560 w 8862060"/>
              <a:gd name="connsiteY14" fmla="*/ 60960 h 289560"/>
              <a:gd name="connsiteX15" fmla="*/ 1074420 w 8862060"/>
              <a:gd name="connsiteY15" fmla="*/ 99060 h 289560"/>
              <a:gd name="connsiteX16" fmla="*/ 1158240 w 8862060"/>
              <a:gd name="connsiteY16" fmla="*/ 68580 h 289560"/>
              <a:gd name="connsiteX17" fmla="*/ 1242060 w 8862060"/>
              <a:gd name="connsiteY17" fmla="*/ 99060 h 289560"/>
              <a:gd name="connsiteX18" fmla="*/ 1318260 w 8862060"/>
              <a:gd name="connsiteY18" fmla="*/ 38100 h 289560"/>
              <a:gd name="connsiteX19" fmla="*/ 1386840 w 8862060"/>
              <a:gd name="connsiteY19" fmla="*/ 99060 h 289560"/>
              <a:gd name="connsiteX20" fmla="*/ 1447800 w 8862060"/>
              <a:gd name="connsiteY20" fmla="*/ 76200 h 289560"/>
              <a:gd name="connsiteX21" fmla="*/ 1493520 w 8862060"/>
              <a:gd name="connsiteY21" fmla="*/ 114300 h 289560"/>
              <a:gd name="connsiteX22" fmla="*/ 1577340 w 8862060"/>
              <a:gd name="connsiteY22" fmla="*/ 106680 h 289560"/>
              <a:gd name="connsiteX23" fmla="*/ 1661160 w 8862060"/>
              <a:gd name="connsiteY23" fmla="*/ 76200 h 289560"/>
              <a:gd name="connsiteX24" fmla="*/ 1699260 w 8862060"/>
              <a:gd name="connsiteY24" fmla="*/ 60960 h 289560"/>
              <a:gd name="connsiteX25" fmla="*/ 1737360 w 8862060"/>
              <a:gd name="connsiteY25" fmla="*/ 68580 h 289560"/>
              <a:gd name="connsiteX26" fmla="*/ 1805940 w 8862060"/>
              <a:gd name="connsiteY26" fmla="*/ 83820 h 289560"/>
              <a:gd name="connsiteX27" fmla="*/ 1836420 w 8862060"/>
              <a:gd name="connsiteY27" fmla="*/ 91440 h 289560"/>
              <a:gd name="connsiteX28" fmla="*/ 1889760 w 8862060"/>
              <a:gd name="connsiteY28" fmla="*/ 91440 h 289560"/>
              <a:gd name="connsiteX29" fmla="*/ 1943100 w 8862060"/>
              <a:gd name="connsiteY29" fmla="*/ 114300 h 289560"/>
              <a:gd name="connsiteX30" fmla="*/ 2019300 w 8862060"/>
              <a:gd name="connsiteY30" fmla="*/ 60960 h 289560"/>
              <a:gd name="connsiteX31" fmla="*/ 2080260 w 8862060"/>
              <a:gd name="connsiteY31" fmla="*/ 60960 h 289560"/>
              <a:gd name="connsiteX32" fmla="*/ 2125980 w 8862060"/>
              <a:gd name="connsiteY32" fmla="*/ 45720 h 289560"/>
              <a:gd name="connsiteX33" fmla="*/ 2171700 w 8862060"/>
              <a:gd name="connsiteY33" fmla="*/ 76200 h 289560"/>
              <a:gd name="connsiteX34" fmla="*/ 2278380 w 8862060"/>
              <a:gd name="connsiteY34" fmla="*/ 68580 h 289560"/>
              <a:gd name="connsiteX35" fmla="*/ 2339340 w 8862060"/>
              <a:gd name="connsiteY35" fmla="*/ 60960 h 289560"/>
              <a:gd name="connsiteX36" fmla="*/ 2438400 w 8862060"/>
              <a:gd name="connsiteY36" fmla="*/ 99060 h 289560"/>
              <a:gd name="connsiteX37" fmla="*/ 2529840 w 8862060"/>
              <a:gd name="connsiteY37" fmla="*/ 38100 h 289560"/>
              <a:gd name="connsiteX38" fmla="*/ 2590800 w 8862060"/>
              <a:gd name="connsiteY38" fmla="*/ 76200 h 289560"/>
              <a:gd name="connsiteX39" fmla="*/ 2697480 w 8862060"/>
              <a:gd name="connsiteY39" fmla="*/ 76200 h 289560"/>
              <a:gd name="connsiteX40" fmla="*/ 2773680 w 8862060"/>
              <a:gd name="connsiteY40" fmla="*/ 76200 h 289560"/>
              <a:gd name="connsiteX41" fmla="*/ 2903220 w 8862060"/>
              <a:gd name="connsiteY41" fmla="*/ 22860 h 289560"/>
              <a:gd name="connsiteX42" fmla="*/ 2964180 w 8862060"/>
              <a:gd name="connsiteY42" fmla="*/ 76200 h 289560"/>
              <a:gd name="connsiteX43" fmla="*/ 3040380 w 8862060"/>
              <a:gd name="connsiteY43" fmla="*/ 7620 h 289560"/>
              <a:gd name="connsiteX44" fmla="*/ 3086100 w 8862060"/>
              <a:gd name="connsiteY44" fmla="*/ 53340 h 289560"/>
              <a:gd name="connsiteX45" fmla="*/ 3223260 w 8862060"/>
              <a:gd name="connsiteY45" fmla="*/ 15240 h 289560"/>
              <a:gd name="connsiteX46" fmla="*/ 3246120 w 8862060"/>
              <a:gd name="connsiteY46" fmla="*/ 0 h 289560"/>
              <a:gd name="connsiteX47" fmla="*/ 3291840 w 8862060"/>
              <a:gd name="connsiteY47" fmla="*/ 53340 h 289560"/>
              <a:gd name="connsiteX48" fmla="*/ 3398520 w 8862060"/>
              <a:gd name="connsiteY48" fmla="*/ 38100 h 289560"/>
              <a:gd name="connsiteX49" fmla="*/ 3451860 w 8862060"/>
              <a:gd name="connsiteY49" fmla="*/ 91440 h 289560"/>
              <a:gd name="connsiteX50" fmla="*/ 3558540 w 8862060"/>
              <a:gd name="connsiteY50" fmla="*/ 99060 h 289560"/>
              <a:gd name="connsiteX51" fmla="*/ 3634740 w 8862060"/>
              <a:gd name="connsiteY51" fmla="*/ 99060 h 289560"/>
              <a:gd name="connsiteX52" fmla="*/ 3695700 w 8862060"/>
              <a:gd name="connsiteY52" fmla="*/ 83820 h 289560"/>
              <a:gd name="connsiteX53" fmla="*/ 3779520 w 8862060"/>
              <a:gd name="connsiteY53" fmla="*/ 30480 h 289560"/>
              <a:gd name="connsiteX54" fmla="*/ 3863340 w 8862060"/>
              <a:gd name="connsiteY54" fmla="*/ 83820 h 289560"/>
              <a:gd name="connsiteX55" fmla="*/ 3977640 w 8862060"/>
              <a:gd name="connsiteY55" fmla="*/ 121920 h 289560"/>
              <a:gd name="connsiteX56" fmla="*/ 4000500 w 8862060"/>
              <a:gd name="connsiteY56" fmla="*/ 160020 h 289560"/>
              <a:gd name="connsiteX57" fmla="*/ 4091940 w 8862060"/>
              <a:gd name="connsiteY57" fmla="*/ 121920 h 289560"/>
              <a:gd name="connsiteX58" fmla="*/ 4122420 w 8862060"/>
              <a:gd name="connsiteY58" fmla="*/ 76200 h 289560"/>
              <a:gd name="connsiteX59" fmla="*/ 4229100 w 8862060"/>
              <a:gd name="connsiteY59" fmla="*/ 137160 h 289560"/>
              <a:gd name="connsiteX60" fmla="*/ 4267200 w 8862060"/>
              <a:gd name="connsiteY60" fmla="*/ 114300 h 289560"/>
              <a:gd name="connsiteX61" fmla="*/ 4282440 w 8862060"/>
              <a:gd name="connsiteY61" fmla="*/ 144780 h 289560"/>
              <a:gd name="connsiteX62" fmla="*/ 4351020 w 8862060"/>
              <a:gd name="connsiteY62" fmla="*/ 114300 h 289560"/>
              <a:gd name="connsiteX63" fmla="*/ 4381500 w 8862060"/>
              <a:gd name="connsiteY63" fmla="*/ 144780 h 289560"/>
              <a:gd name="connsiteX64" fmla="*/ 4434840 w 8862060"/>
              <a:gd name="connsiteY64" fmla="*/ 144780 h 289560"/>
              <a:gd name="connsiteX65" fmla="*/ 4495800 w 8862060"/>
              <a:gd name="connsiteY65" fmla="*/ 106680 h 289560"/>
              <a:gd name="connsiteX66" fmla="*/ 4541520 w 8862060"/>
              <a:gd name="connsiteY66" fmla="*/ 167640 h 289560"/>
              <a:gd name="connsiteX67" fmla="*/ 4572000 w 8862060"/>
              <a:gd name="connsiteY67" fmla="*/ 121920 h 289560"/>
              <a:gd name="connsiteX68" fmla="*/ 4686300 w 8862060"/>
              <a:gd name="connsiteY68" fmla="*/ 160020 h 289560"/>
              <a:gd name="connsiteX69" fmla="*/ 4686300 w 8862060"/>
              <a:gd name="connsiteY69" fmla="*/ 175260 h 289560"/>
              <a:gd name="connsiteX70" fmla="*/ 4739640 w 8862060"/>
              <a:gd name="connsiteY70" fmla="*/ 137160 h 289560"/>
              <a:gd name="connsiteX71" fmla="*/ 4762500 w 8862060"/>
              <a:gd name="connsiteY71" fmla="*/ 137160 h 289560"/>
              <a:gd name="connsiteX72" fmla="*/ 4815840 w 8862060"/>
              <a:gd name="connsiteY72" fmla="*/ 144780 h 289560"/>
              <a:gd name="connsiteX73" fmla="*/ 4876800 w 8862060"/>
              <a:gd name="connsiteY73" fmla="*/ 182880 h 289560"/>
              <a:gd name="connsiteX74" fmla="*/ 4907280 w 8862060"/>
              <a:gd name="connsiteY74" fmla="*/ 213360 h 289560"/>
              <a:gd name="connsiteX75" fmla="*/ 4968240 w 8862060"/>
              <a:gd name="connsiteY75" fmla="*/ 205740 h 289560"/>
              <a:gd name="connsiteX76" fmla="*/ 4968240 w 8862060"/>
              <a:gd name="connsiteY76" fmla="*/ 220980 h 289560"/>
              <a:gd name="connsiteX77" fmla="*/ 5067300 w 8862060"/>
              <a:gd name="connsiteY77" fmla="*/ 175260 h 289560"/>
              <a:gd name="connsiteX78" fmla="*/ 5105400 w 8862060"/>
              <a:gd name="connsiteY78" fmla="*/ 160020 h 289560"/>
              <a:gd name="connsiteX79" fmla="*/ 5105400 w 8862060"/>
              <a:gd name="connsiteY79" fmla="*/ 160020 h 289560"/>
              <a:gd name="connsiteX80" fmla="*/ 5196840 w 8862060"/>
              <a:gd name="connsiteY80" fmla="*/ 190500 h 289560"/>
              <a:gd name="connsiteX81" fmla="*/ 5288280 w 8862060"/>
              <a:gd name="connsiteY81" fmla="*/ 114300 h 289560"/>
              <a:gd name="connsiteX82" fmla="*/ 5356860 w 8862060"/>
              <a:gd name="connsiteY82" fmla="*/ 137160 h 289560"/>
              <a:gd name="connsiteX83" fmla="*/ 5433060 w 8862060"/>
              <a:gd name="connsiteY83" fmla="*/ 160020 h 289560"/>
              <a:gd name="connsiteX84" fmla="*/ 5455920 w 8862060"/>
              <a:gd name="connsiteY84" fmla="*/ 205740 h 289560"/>
              <a:gd name="connsiteX85" fmla="*/ 5509260 w 8862060"/>
              <a:gd name="connsiteY85" fmla="*/ 106680 h 289560"/>
              <a:gd name="connsiteX86" fmla="*/ 5562600 w 8862060"/>
              <a:gd name="connsiteY86" fmla="*/ 137160 h 289560"/>
              <a:gd name="connsiteX87" fmla="*/ 5638800 w 8862060"/>
              <a:gd name="connsiteY87" fmla="*/ 99060 h 289560"/>
              <a:gd name="connsiteX88" fmla="*/ 5646420 w 8862060"/>
              <a:gd name="connsiteY88" fmla="*/ 152400 h 289560"/>
              <a:gd name="connsiteX89" fmla="*/ 5730240 w 8862060"/>
              <a:gd name="connsiteY89" fmla="*/ 152400 h 289560"/>
              <a:gd name="connsiteX90" fmla="*/ 5760720 w 8862060"/>
              <a:gd name="connsiteY90" fmla="*/ 160020 h 289560"/>
              <a:gd name="connsiteX91" fmla="*/ 5829300 w 8862060"/>
              <a:gd name="connsiteY91" fmla="*/ 160020 h 289560"/>
              <a:gd name="connsiteX92" fmla="*/ 5928360 w 8862060"/>
              <a:gd name="connsiteY92" fmla="*/ 175260 h 289560"/>
              <a:gd name="connsiteX93" fmla="*/ 5974080 w 8862060"/>
              <a:gd name="connsiteY93" fmla="*/ 205740 h 289560"/>
              <a:gd name="connsiteX94" fmla="*/ 6065520 w 8862060"/>
              <a:gd name="connsiteY94" fmla="*/ 175260 h 289560"/>
              <a:gd name="connsiteX95" fmla="*/ 6088380 w 8862060"/>
              <a:gd name="connsiteY95" fmla="*/ 175260 h 289560"/>
              <a:gd name="connsiteX96" fmla="*/ 6134100 w 8862060"/>
              <a:gd name="connsiteY96" fmla="*/ 213360 h 289560"/>
              <a:gd name="connsiteX97" fmla="*/ 6202680 w 8862060"/>
              <a:gd name="connsiteY97" fmla="*/ 213360 h 289560"/>
              <a:gd name="connsiteX98" fmla="*/ 6286500 w 8862060"/>
              <a:gd name="connsiteY98" fmla="*/ 220980 h 289560"/>
              <a:gd name="connsiteX99" fmla="*/ 6355080 w 8862060"/>
              <a:gd name="connsiteY99" fmla="*/ 190500 h 289560"/>
              <a:gd name="connsiteX100" fmla="*/ 6385560 w 8862060"/>
              <a:gd name="connsiteY100" fmla="*/ 213360 h 289560"/>
              <a:gd name="connsiteX101" fmla="*/ 6484620 w 8862060"/>
              <a:gd name="connsiteY101" fmla="*/ 228600 h 289560"/>
              <a:gd name="connsiteX102" fmla="*/ 6522720 w 8862060"/>
              <a:gd name="connsiteY102" fmla="*/ 243840 h 289560"/>
              <a:gd name="connsiteX103" fmla="*/ 6583680 w 8862060"/>
              <a:gd name="connsiteY103" fmla="*/ 198120 h 289560"/>
              <a:gd name="connsiteX104" fmla="*/ 6659880 w 8862060"/>
              <a:gd name="connsiteY104" fmla="*/ 236220 h 289560"/>
              <a:gd name="connsiteX105" fmla="*/ 6713220 w 8862060"/>
              <a:gd name="connsiteY105" fmla="*/ 190500 h 289560"/>
              <a:gd name="connsiteX106" fmla="*/ 6758940 w 8862060"/>
              <a:gd name="connsiteY106" fmla="*/ 167640 h 289560"/>
              <a:gd name="connsiteX107" fmla="*/ 6758940 w 8862060"/>
              <a:gd name="connsiteY107" fmla="*/ 167640 h 289560"/>
              <a:gd name="connsiteX108" fmla="*/ 6865620 w 8862060"/>
              <a:gd name="connsiteY108" fmla="*/ 182880 h 289560"/>
              <a:gd name="connsiteX109" fmla="*/ 6865620 w 8862060"/>
              <a:gd name="connsiteY109" fmla="*/ 182880 h 289560"/>
              <a:gd name="connsiteX110" fmla="*/ 6995160 w 8862060"/>
              <a:gd name="connsiteY110" fmla="*/ 190500 h 289560"/>
              <a:gd name="connsiteX111" fmla="*/ 7025640 w 8862060"/>
              <a:gd name="connsiteY111" fmla="*/ 220980 h 289560"/>
              <a:gd name="connsiteX112" fmla="*/ 7124700 w 8862060"/>
              <a:gd name="connsiteY112" fmla="*/ 167640 h 289560"/>
              <a:gd name="connsiteX113" fmla="*/ 7162800 w 8862060"/>
              <a:gd name="connsiteY113" fmla="*/ 205740 h 289560"/>
              <a:gd name="connsiteX114" fmla="*/ 7254240 w 8862060"/>
              <a:gd name="connsiteY114" fmla="*/ 167640 h 289560"/>
              <a:gd name="connsiteX115" fmla="*/ 7307580 w 8862060"/>
              <a:gd name="connsiteY115" fmla="*/ 175260 h 289560"/>
              <a:gd name="connsiteX116" fmla="*/ 7383780 w 8862060"/>
              <a:gd name="connsiteY116" fmla="*/ 144780 h 289560"/>
              <a:gd name="connsiteX117" fmla="*/ 7452360 w 8862060"/>
              <a:gd name="connsiteY117" fmla="*/ 213360 h 289560"/>
              <a:gd name="connsiteX118" fmla="*/ 7513320 w 8862060"/>
              <a:gd name="connsiteY118" fmla="*/ 220980 h 289560"/>
              <a:gd name="connsiteX119" fmla="*/ 7612380 w 8862060"/>
              <a:gd name="connsiteY119" fmla="*/ 213360 h 289560"/>
              <a:gd name="connsiteX120" fmla="*/ 7680960 w 8862060"/>
              <a:gd name="connsiteY120" fmla="*/ 205740 h 289560"/>
              <a:gd name="connsiteX121" fmla="*/ 7757160 w 8862060"/>
              <a:gd name="connsiteY121" fmla="*/ 175260 h 289560"/>
              <a:gd name="connsiteX122" fmla="*/ 7802880 w 8862060"/>
              <a:gd name="connsiteY122" fmla="*/ 175260 h 289560"/>
              <a:gd name="connsiteX123" fmla="*/ 7879080 w 8862060"/>
              <a:gd name="connsiteY123" fmla="*/ 175260 h 289560"/>
              <a:gd name="connsiteX124" fmla="*/ 7955280 w 8862060"/>
              <a:gd name="connsiteY124" fmla="*/ 198120 h 289560"/>
              <a:gd name="connsiteX125" fmla="*/ 7955280 w 8862060"/>
              <a:gd name="connsiteY125" fmla="*/ 198120 h 289560"/>
              <a:gd name="connsiteX126" fmla="*/ 8039100 w 8862060"/>
              <a:gd name="connsiteY126" fmla="*/ 160020 h 289560"/>
              <a:gd name="connsiteX127" fmla="*/ 8107680 w 8862060"/>
              <a:gd name="connsiteY127" fmla="*/ 213360 h 289560"/>
              <a:gd name="connsiteX128" fmla="*/ 8176260 w 8862060"/>
              <a:gd name="connsiteY128" fmla="*/ 175260 h 289560"/>
              <a:gd name="connsiteX129" fmla="*/ 8275320 w 8862060"/>
              <a:gd name="connsiteY129" fmla="*/ 152400 h 289560"/>
              <a:gd name="connsiteX130" fmla="*/ 8313420 w 8862060"/>
              <a:gd name="connsiteY130" fmla="*/ 129540 h 289560"/>
              <a:gd name="connsiteX131" fmla="*/ 8366760 w 8862060"/>
              <a:gd name="connsiteY131" fmla="*/ 182880 h 289560"/>
              <a:gd name="connsiteX132" fmla="*/ 8503920 w 8862060"/>
              <a:gd name="connsiteY132" fmla="*/ 167640 h 289560"/>
              <a:gd name="connsiteX133" fmla="*/ 8534400 w 8862060"/>
              <a:gd name="connsiteY133" fmla="*/ 289560 h 289560"/>
              <a:gd name="connsiteX134" fmla="*/ 8648700 w 8862060"/>
              <a:gd name="connsiteY134" fmla="*/ 251460 h 289560"/>
              <a:gd name="connsiteX135" fmla="*/ 8663940 w 8862060"/>
              <a:gd name="connsiteY135" fmla="*/ 175260 h 289560"/>
              <a:gd name="connsiteX136" fmla="*/ 8732520 w 8862060"/>
              <a:gd name="connsiteY136" fmla="*/ 213360 h 289560"/>
              <a:gd name="connsiteX137" fmla="*/ 8808720 w 8862060"/>
              <a:gd name="connsiteY137" fmla="*/ 220980 h 289560"/>
              <a:gd name="connsiteX138" fmla="*/ 8831580 w 8862060"/>
              <a:gd name="connsiteY138" fmla="*/ 259080 h 289560"/>
              <a:gd name="connsiteX139" fmla="*/ 8862060 w 8862060"/>
              <a:gd name="connsiteY139" fmla="*/ 220980 h 289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8862060" h="289560">
                <a:moveTo>
                  <a:pt x="0" y="15240"/>
                </a:moveTo>
                <a:lnTo>
                  <a:pt x="137160" y="45720"/>
                </a:lnTo>
                <a:lnTo>
                  <a:pt x="228600" y="30480"/>
                </a:lnTo>
                <a:lnTo>
                  <a:pt x="251460" y="68580"/>
                </a:lnTo>
                <a:lnTo>
                  <a:pt x="381000" y="38100"/>
                </a:lnTo>
                <a:lnTo>
                  <a:pt x="426720" y="60960"/>
                </a:lnTo>
                <a:lnTo>
                  <a:pt x="457200" y="45720"/>
                </a:lnTo>
                <a:lnTo>
                  <a:pt x="533400" y="68580"/>
                </a:lnTo>
                <a:lnTo>
                  <a:pt x="594360" y="38100"/>
                </a:lnTo>
                <a:lnTo>
                  <a:pt x="655320" y="60960"/>
                </a:lnTo>
                <a:lnTo>
                  <a:pt x="723900" y="45720"/>
                </a:lnTo>
                <a:lnTo>
                  <a:pt x="845820" y="60960"/>
                </a:lnTo>
                <a:lnTo>
                  <a:pt x="891540" y="38100"/>
                </a:lnTo>
                <a:lnTo>
                  <a:pt x="960120" y="53340"/>
                </a:lnTo>
                <a:lnTo>
                  <a:pt x="1051560" y="60960"/>
                </a:lnTo>
                <a:lnTo>
                  <a:pt x="1074420" y="99060"/>
                </a:lnTo>
                <a:lnTo>
                  <a:pt x="1158240" y="68580"/>
                </a:lnTo>
                <a:lnTo>
                  <a:pt x="1242060" y="99060"/>
                </a:lnTo>
                <a:lnTo>
                  <a:pt x="1318260" y="38100"/>
                </a:lnTo>
                <a:lnTo>
                  <a:pt x="1386840" y="99060"/>
                </a:lnTo>
                <a:lnTo>
                  <a:pt x="1447800" y="76200"/>
                </a:lnTo>
                <a:lnTo>
                  <a:pt x="1493520" y="114300"/>
                </a:lnTo>
                <a:lnTo>
                  <a:pt x="1577340" y="106680"/>
                </a:lnTo>
                <a:lnTo>
                  <a:pt x="1661160" y="76200"/>
                </a:lnTo>
                <a:lnTo>
                  <a:pt x="1699260" y="60960"/>
                </a:lnTo>
                <a:lnTo>
                  <a:pt x="1737360" y="68580"/>
                </a:lnTo>
                <a:lnTo>
                  <a:pt x="1805940" y="83820"/>
                </a:lnTo>
                <a:lnTo>
                  <a:pt x="1836420" y="91440"/>
                </a:lnTo>
                <a:lnTo>
                  <a:pt x="1889760" y="91440"/>
                </a:lnTo>
                <a:lnTo>
                  <a:pt x="1943100" y="114300"/>
                </a:lnTo>
                <a:lnTo>
                  <a:pt x="2019300" y="60960"/>
                </a:lnTo>
                <a:lnTo>
                  <a:pt x="2080260" y="60960"/>
                </a:lnTo>
                <a:lnTo>
                  <a:pt x="2125980" y="45720"/>
                </a:lnTo>
                <a:lnTo>
                  <a:pt x="2171700" y="76200"/>
                </a:lnTo>
                <a:lnTo>
                  <a:pt x="2278380" y="68580"/>
                </a:lnTo>
                <a:lnTo>
                  <a:pt x="2339340" y="60960"/>
                </a:lnTo>
                <a:lnTo>
                  <a:pt x="2438400" y="99060"/>
                </a:lnTo>
                <a:lnTo>
                  <a:pt x="2529840" y="38100"/>
                </a:lnTo>
                <a:lnTo>
                  <a:pt x="2590800" y="76200"/>
                </a:lnTo>
                <a:lnTo>
                  <a:pt x="2697480" y="76200"/>
                </a:lnTo>
                <a:lnTo>
                  <a:pt x="2773680" y="76200"/>
                </a:lnTo>
                <a:lnTo>
                  <a:pt x="2903220" y="22860"/>
                </a:lnTo>
                <a:lnTo>
                  <a:pt x="2964180" y="76200"/>
                </a:lnTo>
                <a:lnTo>
                  <a:pt x="3040380" y="7620"/>
                </a:lnTo>
                <a:lnTo>
                  <a:pt x="3086100" y="53340"/>
                </a:lnTo>
                <a:lnTo>
                  <a:pt x="3223260" y="15240"/>
                </a:lnTo>
                <a:lnTo>
                  <a:pt x="3246120" y="0"/>
                </a:lnTo>
                <a:lnTo>
                  <a:pt x="3291840" y="53340"/>
                </a:lnTo>
                <a:lnTo>
                  <a:pt x="3398520" y="38100"/>
                </a:lnTo>
                <a:lnTo>
                  <a:pt x="3451860" y="91440"/>
                </a:lnTo>
                <a:lnTo>
                  <a:pt x="3558540" y="99060"/>
                </a:lnTo>
                <a:lnTo>
                  <a:pt x="3634740" y="99060"/>
                </a:lnTo>
                <a:lnTo>
                  <a:pt x="3695700" y="83820"/>
                </a:lnTo>
                <a:lnTo>
                  <a:pt x="3779520" y="30480"/>
                </a:lnTo>
                <a:lnTo>
                  <a:pt x="3863340" y="83820"/>
                </a:lnTo>
                <a:lnTo>
                  <a:pt x="3977640" y="121920"/>
                </a:lnTo>
                <a:lnTo>
                  <a:pt x="4000500" y="160020"/>
                </a:lnTo>
                <a:lnTo>
                  <a:pt x="4091940" y="121920"/>
                </a:lnTo>
                <a:lnTo>
                  <a:pt x="4122420" y="76200"/>
                </a:lnTo>
                <a:lnTo>
                  <a:pt x="4229100" y="137160"/>
                </a:lnTo>
                <a:lnTo>
                  <a:pt x="4267200" y="114300"/>
                </a:lnTo>
                <a:lnTo>
                  <a:pt x="4282440" y="144780"/>
                </a:lnTo>
                <a:lnTo>
                  <a:pt x="4351020" y="114300"/>
                </a:lnTo>
                <a:lnTo>
                  <a:pt x="4381500" y="144780"/>
                </a:lnTo>
                <a:lnTo>
                  <a:pt x="4434840" y="144780"/>
                </a:lnTo>
                <a:lnTo>
                  <a:pt x="4495800" y="106680"/>
                </a:lnTo>
                <a:lnTo>
                  <a:pt x="4541520" y="167640"/>
                </a:lnTo>
                <a:lnTo>
                  <a:pt x="4572000" y="121920"/>
                </a:lnTo>
                <a:lnTo>
                  <a:pt x="4686300" y="160020"/>
                </a:lnTo>
                <a:lnTo>
                  <a:pt x="4686300" y="175260"/>
                </a:lnTo>
                <a:lnTo>
                  <a:pt x="4739640" y="137160"/>
                </a:lnTo>
                <a:lnTo>
                  <a:pt x="4762500" y="137160"/>
                </a:lnTo>
                <a:lnTo>
                  <a:pt x="4815840" y="144780"/>
                </a:lnTo>
                <a:lnTo>
                  <a:pt x="4876800" y="182880"/>
                </a:lnTo>
                <a:lnTo>
                  <a:pt x="4907280" y="213360"/>
                </a:lnTo>
                <a:lnTo>
                  <a:pt x="4968240" y="205740"/>
                </a:lnTo>
                <a:lnTo>
                  <a:pt x="4968240" y="220980"/>
                </a:lnTo>
                <a:lnTo>
                  <a:pt x="5067300" y="175260"/>
                </a:lnTo>
                <a:lnTo>
                  <a:pt x="5105400" y="160020"/>
                </a:lnTo>
                <a:lnTo>
                  <a:pt x="5105400" y="160020"/>
                </a:lnTo>
                <a:lnTo>
                  <a:pt x="5196840" y="190500"/>
                </a:lnTo>
                <a:lnTo>
                  <a:pt x="5288280" y="114300"/>
                </a:lnTo>
                <a:lnTo>
                  <a:pt x="5356860" y="137160"/>
                </a:lnTo>
                <a:lnTo>
                  <a:pt x="5433060" y="160020"/>
                </a:lnTo>
                <a:lnTo>
                  <a:pt x="5455920" y="205740"/>
                </a:lnTo>
                <a:lnTo>
                  <a:pt x="5509260" y="106680"/>
                </a:lnTo>
                <a:lnTo>
                  <a:pt x="5562600" y="137160"/>
                </a:lnTo>
                <a:lnTo>
                  <a:pt x="5638800" y="99060"/>
                </a:lnTo>
                <a:lnTo>
                  <a:pt x="5646420" y="152400"/>
                </a:lnTo>
                <a:lnTo>
                  <a:pt x="5730240" y="152400"/>
                </a:lnTo>
                <a:lnTo>
                  <a:pt x="5760720" y="160020"/>
                </a:lnTo>
                <a:lnTo>
                  <a:pt x="5829300" y="160020"/>
                </a:lnTo>
                <a:lnTo>
                  <a:pt x="5928360" y="175260"/>
                </a:lnTo>
                <a:lnTo>
                  <a:pt x="5974080" y="205740"/>
                </a:lnTo>
                <a:lnTo>
                  <a:pt x="6065520" y="175260"/>
                </a:lnTo>
                <a:lnTo>
                  <a:pt x="6088380" y="175260"/>
                </a:lnTo>
                <a:lnTo>
                  <a:pt x="6134100" y="213360"/>
                </a:lnTo>
                <a:lnTo>
                  <a:pt x="6202680" y="213360"/>
                </a:lnTo>
                <a:lnTo>
                  <a:pt x="6286500" y="220980"/>
                </a:lnTo>
                <a:lnTo>
                  <a:pt x="6355080" y="190500"/>
                </a:lnTo>
                <a:lnTo>
                  <a:pt x="6385560" y="213360"/>
                </a:lnTo>
                <a:lnTo>
                  <a:pt x="6484620" y="228600"/>
                </a:lnTo>
                <a:lnTo>
                  <a:pt x="6522720" y="243840"/>
                </a:lnTo>
                <a:lnTo>
                  <a:pt x="6583680" y="198120"/>
                </a:lnTo>
                <a:lnTo>
                  <a:pt x="6659880" y="236220"/>
                </a:lnTo>
                <a:lnTo>
                  <a:pt x="6713220" y="190500"/>
                </a:lnTo>
                <a:lnTo>
                  <a:pt x="6758940" y="167640"/>
                </a:lnTo>
                <a:lnTo>
                  <a:pt x="6758940" y="167640"/>
                </a:lnTo>
                <a:lnTo>
                  <a:pt x="6865620" y="182880"/>
                </a:lnTo>
                <a:lnTo>
                  <a:pt x="6865620" y="182880"/>
                </a:lnTo>
                <a:lnTo>
                  <a:pt x="6995160" y="190500"/>
                </a:lnTo>
                <a:lnTo>
                  <a:pt x="7025640" y="220980"/>
                </a:lnTo>
                <a:lnTo>
                  <a:pt x="7124700" y="167640"/>
                </a:lnTo>
                <a:lnTo>
                  <a:pt x="7162800" y="205740"/>
                </a:lnTo>
                <a:lnTo>
                  <a:pt x="7254240" y="167640"/>
                </a:lnTo>
                <a:lnTo>
                  <a:pt x="7307580" y="175260"/>
                </a:lnTo>
                <a:lnTo>
                  <a:pt x="7383780" y="144780"/>
                </a:lnTo>
                <a:lnTo>
                  <a:pt x="7452360" y="213360"/>
                </a:lnTo>
                <a:lnTo>
                  <a:pt x="7513320" y="220980"/>
                </a:lnTo>
                <a:lnTo>
                  <a:pt x="7612380" y="213360"/>
                </a:lnTo>
                <a:lnTo>
                  <a:pt x="7680960" y="205740"/>
                </a:lnTo>
                <a:lnTo>
                  <a:pt x="7757160" y="175260"/>
                </a:lnTo>
                <a:lnTo>
                  <a:pt x="7802880" y="175260"/>
                </a:lnTo>
                <a:lnTo>
                  <a:pt x="7879080" y="175260"/>
                </a:lnTo>
                <a:lnTo>
                  <a:pt x="7955280" y="198120"/>
                </a:lnTo>
                <a:lnTo>
                  <a:pt x="7955280" y="198120"/>
                </a:lnTo>
                <a:lnTo>
                  <a:pt x="8039100" y="160020"/>
                </a:lnTo>
                <a:lnTo>
                  <a:pt x="8107680" y="213360"/>
                </a:lnTo>
                <a:lnTo>
                  <a:pt x="8176260" y="175260"/>
                </a:lnTo>
                <a:lnTo>
                  <a:pt x="8275320" y="152400"/>
                </a:lnTo>
                <a:lnTo>
                  <a:pt x="8313420" y="129540"/>
                </a:lnTo>
                <a:lnTo>
                  <a:pt x="8366760" y="182880"/>
                </a:lnTo>
                <a:lnTo>
                  <a:pt x="8503920" y="167640"/>
                </a:lnTo>
                <a:lnTo>
                  <a:pt x="8534400" y="289560"/>
                </a:lnTo>
                <a:lnTo>
                  <a:pt x="8648700" y="251460"/>
                </a:lnTo>
                <a:lnTo>
                  <a:pt x="8663940" y="175260"/>
                </a:lnTo>
                <a:lnTo>
                  <a:pt x="8732520" y="213360"/>
                </a:lnTo>
                <a:lnTo>
                  <a:pt x="8808720" y="220980"/>
                </a:lnTo>
                <a:lnTo>
                  <a:pt x="8831580" y="259080"/>
                </a:lnTo>
                <a:lnTo>
                  <a:pt x="8862060" y="220980"/>
                </a:lnTo>
              </a:path>
            </a:pathLst>
          </a:custGeom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24817528-37B6-4AD7-B3B8-7EB7514C350C}"/>
              </a:ext>
            </a:extLst>
          </p:cNvPr>
          <p:cNvSpPr/>
          <p:nvPr/>
        </p:nvSpPr>
        <p:spPr>
          <a:xfrm>
            <a:off x="1897380" y="2926080"/>
            <a:ext cx="8862060" cy="304800"/>
          </a:xfrm>
          <a:custGeom>
            <a:avLst/>
            <a:gdLst>
              <a:gd name="connsiteX0" fmla="*/ 0 w 8862060"/>
              <a:gd name="connsiteY0" fmla="*/ 0 h 304800"/>
              <a:gd name="connsiteX1" fmla="*/ 45720 w 8862060"/>
              <a:gd name="connsiteY1" fmla="*/ 30480 h 304800"/>
              <a:gd name="connsiteX2" fmla="*/ 76200 w 8862060"/>
              <a:gd name="connsiteY2" fmla="*/ 15240 h 304800"/>
              <a:gd name="connsiteX3" fmla="*/ 137160 w 8862060"/>
              <a:gd name="connsiteY3" fmla="*/ 45720 h 304800"/>
              <a:gd name="connsiteX4" fmla="*/ 243840 w 8862060"/>
              <a:gd name="connsiteY4" fmla="*/ 38100 h 304800"/>
              <a:gd name="connsiteX5" fmla="*/ 274320 w 8862060"/>
              <a:gd name="connsiteY5" fmla="*/ 38100 h 304800"/>
              <a:gd name="connsiteX6" fmla="*/ 358140 w 8862060"/>
              <a:gd name="connsiteY6" fmla="*/ 60960 h 304800"/>
              <a:gd name="connsiteX7" fmla="*/ 426720 w 8862060"/>
              <a:gd name="connsiteY7" fmla="*/ 45720 h 304800"/>
              <a:gd name="connsiteX8" fmla="*/ 548640 w 8862060"/>
              <a:gd name="connsiteY8" fmla="*/ 53340 h 304800"/>
              <a:gd name="connsiteX9" fmla="*/ 579120 w 8862060"/>
              <a:gd name="connsiteY9" fmla="*/ 30480 h 304800"/>
              <a:gd name="connsiteX10" fmla="*/ 662940 w 8862060"/>
              <a:gd name="connsiteY10" fmla="*/ 91440 h 304800"/>
              <a:gd name="connsiteX11" fmla="*/ 754380 w 8862060"/>
              <a:gd name="connsiteY11" fmla="*/ 53340 h 304800"/>
              <a:gd name="connsiteX12" fmla="*/ 800100 w 8862060"/>
              <a:gd name="connsiteY12" fmla="*/ 91440 h 304800"/>
              <a:gd name="connsiteX13" fmla="*/ 822960 w 8862060"/>
              <a:gd name="connsiteY13" fmla="*/ 38100 h 304800"/>
              <a:gd name="connsiteX14" fmla="*/ 922020 w 8862060"/>
              <a:gd name="connsiteY14" fmla="*/ 76200 h 304800"/>
              <a:gd name="connsiteX15" fmla="*/ 1036320 w 8862060"/>
              <a:gd name="connsiteY15" fmla="*/ 60960 h 304800"/>
              <a:gd name="connsiteX16" fmla="*/ 1165860 w 8862060"/>
              <a:gd name="connsiteY16" fmla="*/ 68580 h 304800"/>
              <a:gd name="connsiteX17" fmla="*/ 1188720 w 8862060"/>
              <a:gd name="connsiteY17" fmla="*/ 83820 h 304800"/>
              <a:gd name="connsiteX18" fmla="*/ 1272540 w 8862060"/>
              <a:gd name="connsiteY18" fmla="*/ 83820 h 304800"/>
              <a:gd name="connsiteX19" fmla="*/ 1287780 w 8862060"/>
              <a:gd name="connsiteY19" fmla="*/ 129540 h 304800"/>
              <a:gd name="connsiteX20" fmla="*/ 1333500 w 8862060"/>
              <a:gd name="connsiteY20" fmla="*/ 76200 h 304800"/>
              <a:gd name="connsiteX21" fmla="*/ 1341120 w 8862060"/>
              <a:gd name="connsiteY21" fmla="*/ 106680 h 304800"/>
              <a:gd name="connsiteX22" fmla="*/ 1417320 w 8862060"/>
              <a:gd name="connsiteY22" fmla="*/ 99060 h 304800"/>
              <a:gd name="connsiteX23" fmla="*/ 1447800 w 8862060"/>
              <a:gd name="connsiteY23" fmla="*/ 114300 h 304800"/>
              <a:gd name="connsiteX24" fmla="*/ 1493520 w 8862060"/>
              <a:gd name="connsiteY24" fmla="*/ 121920 h 304800"/>
              <a:gd name="connsiteX25" fmla="*/ 1546860 w 8862060"/>
              <a:gd name="connsiteY25" fmla="*/ 68580 h 304800"/>
              <a:gd name="connsiteX26" fmla="*/ 1600200 w 8862060"/>
              <a:gd name="connsiteY26" fmla="*/ 91440 h 304800"/>
              <a:gd name="connsiteX27" fmla="*/ 1661160 w 8862060"/>
              <a:gd name="connsiteY27" fmla="*/ 91440 h 304800"/>
              <a:gd name="connsiteX28" fmla="*/ 1760220 w 8862060"/>
              <a:gd name="connsiteY28" fmla="*/ 99060 h 304800"/>
              <a:gd name="connsiteX29" fmla="*/ 1828800 w 8862060"/>
              <a:gd name="connsiteY29" fmla="*/ 106680 h 304800"/>
              <a:gd name="connsiteX30" fmla="*/ 1965960 w 8862060"/>
              <a:gd name="connsiteY30" fmla="*/ 60960 h 304800"/>
              <a:gd name="connsiteX31" fmla="*/ 2057400 w 8862060"/>
              <a:gd name="connsiteY31" fmla="*/ 76200 h 304800"/>
              <a:gd name="connsiteX32" fmla="*/ 2125980 w 8862060"/>
              <a:gd name="connsiteY32" fmla="*/ 76200 h 304800"/>
              <a:gd name="connsiteX33" fmla="*/ 2202180 w 8862060"/>
              <a:gd name="connsiteY33" fmla="*/ 114300 h 304800"/>
              <a:gd name="connsiteX34" fmla="*/ 2286000 w 8862060"/>
              <a:gd name="connsiteY34" fmla="*/ 68580 h 304800"/>
              <a:gd name="connsiteX35" fmla="*/ 2354580 w 8862060"/>
              <a:gd name="connsiteY35" fmla="*/ 99060 h 304800"/>
              <a:gd name="connsiteX36" fmla="*/ 2400300 w 8862060"/>
              <a:gd name="connsiteY36" fmla="*/ 106680 h 304800"/>
              <a:gd name="connsiteX37" fmla="*/ 2468880 w 8862060"/>
              <a:gd name="connsiteY37" fmla="*/ 60960 h 304800"/>
              <a:gd name="connsiteX38" fmla="*/ 2514600 w 8862060"/>
              <a:gd name="connsiteY38" fmla="*/ 106680 h 304800"/>
              <a:gd name="connsiteX39" fmla="*/ 2613660 w 8862060"/>
              <a:gd name="connsiteY39" fmla="*/ 68580 h 304800"/>
              <a:gd name="connsiteX40" fmla="*/ 2697480 w 8862060"/>
              <a:gd name="connsiteY40" fmla="*/ 68580 h 304800"/>
              <a:gd name="connsiteX41" fmla="*/ 2796540 w 8862060"/>
              <a:gd name="connsiteY41" fmla="*/ 114300 h 304800"/>
              <a:gd name="connsiteX42" fmla="*/ 2872740 w 8862060"/>
              <a:gd name="connsiteY42" fmla="*/ 99060 h 304800"/>
              <a:gd name="connsiteX43" fmla="*/ 3017520 w 8862060"/>
              <a:gd name="connsiteY43" fmla="*/ 106680 h 304800"/>
              <a:gd name="connsiteX44" fmla="*/ 3124200 w 8862060"/>
              <a:gd name="connsiteY44" fmla="*/ 99060 h 304800"/>
              <a:gd name="connsiteX45" fmla="*/ 3223260 w 8862060"/>
              <a:gd name="connsiteY45" fmla="*/ 99060 h 304800"/>
              <a:gd name="connsiteX46" fmla="*/ 3375660 w 8862060"/>
              <a:gd name="connsiteY46" fmla="*/ 38100 h 304800"/>
              <a:gd name="connsiteX47" fmla="*/ 3383280 w 8862060"/>
              <a:gd name="connsiteY47" fmla="*/ 83820 h 304800"/>
              <a:gd name="connsiteX48" fmla="*/ 3497580 w 8862060"/>
              <a:gd name="connsiteY48" fmla="*/ 137160 h 304800"/>
              <a:gd name="connsiteX49" fmla="*/ 3604260 w 8862060"/>
              <a:gd name="connsiteY49" fmla="*/ 160020 h 304800"/>
              <a:gd name="connsiteX50" fmla="*/ 3657600 w 8862060"/>
              <a:gd name="connsiteY50" fmla="*/ 144780 h 304800"/>
              <a:gd name="connsiteX51" fmla="*/ 3657600 w 8862060"/>
              <a:gd name="connsiteY51" fmla="*/ 144780 h 304800"/>
              <a:gd name="connsiteX52" fmla="*/ 3771900 w 8862060"/>
              <a:gd name="connsiteY52" fmla="*/ 160020 h 304800"/>
              <a:gd name="connsiteX53" fmla="*/ 3870960 w 8862060"/>
              <a:gd name="connsiteY53" fmla="*/ 175260 h 304800"/>
              <a:gd name="connsiteX54" fmla="*/ 3954780 w 8862060"/>
              <a:gd name="connsiteY54" fmla="*/ 167640 h 304800"/>
              <a:gd name="connsiteX55" fmla="*/ 3985260 w 8862060"/>
              <a:gd name="connsiteY55" fmla="*/ 152400 h 304800"/>
              <a:gd name="connsiteX56" fmla="*/ 4046220 w 8862060"/>
              <a:gd name="connsiteY56" fmla="*/ 160020 h 304800"/>
              <a:gd name="connsiteX57" fmla="*/ 4130040 w 8862060"/>
              <a:gd name="connsiteY57" fmla="*/ 152400 h 304800"/>
              <a:gd name="connsiteX58" fmla="*/ 4191000 w 8862060"/>
              <a:gd name="connsiteY58" fmla="*/ 175260 h 304800"/>
              <a:gd name="connsiteX59" fmla="*/ 4282440 w 8862060"/>
              <a:gd name="connsiteY59" fmla="*/ 152400 h 304800"/>
              <a:gd name="connsiteX60" fmla="*/ 4312920 w 8862060"/>
              <a:gd name="connsiteY60" fmla="*/ 182880 h 304800"/>
              <a:gd name="connsiteX61" fmla="*/ 4366260 w 8862060"/>
              <a:gd name="connsiteY61" fmla="*/ 137160 h 304800"/>
              <a:gd name="connsiteX62" fmla="*/ 4434840 w 8862060"/>
              <a:gd name="connsiteY62" fmla="*/ 190500 h 304800"/>
              <a:gd name="connsiteX63" fmla="*/ 4511040 w 8862060"/>
              <a:gd name="connsiteY63" fmla="*/ 198120 h 304800"/>
              <a:gd name="connsiteX64" fmla="*/ 4579620 w 8862060"/>
              <a:gd name="connsiteY64" fmla="*/ 213360 h 304800"/>
              <a:gd name="connsiteX65" fmla="*/ 4648200 w 8862060"/>
              <a:gd name="connsiteY65" fmla="*/ 220980 h 304800"/>
              <a:gd name="connsiteX66" fmla="*/ 4724400 w 8862060"/>
              <a:gd name="connsiteY66" fmla="*/ 167640 h 304800"/>
              <a:gd name="connsiteX67" fmla="*/ 4800600 w 8862060"/>
              <a:gd name="connsiteY67" fmla="*/ 205740 h 304800"/>
              <a:gd name="connsiteX68" fmla="*/ 4823460 w 8862060"/>
              <a:gd name="connsiteY68" fmla="*/ 190500 h 304800"/>
              <a:gd name="connsiteX69" fmla="*/ 4876800 w 8862060"/>
              <a:gd name="connsiteY69" fmla="*/ 220980 h 304800"/>
              <a:gd name="connsiteX70" fmla="*/ 4930140 w 8862060"/>
              <a:gd name="connsiteY70" fmla="*/ 190500 h 304800"/>
              <a:gd name="connsiteX71" fmla="*/ 5006340 w 8862060"/>
              <a:gd name="connsiteY71" fmla="*/ 213360 h 304800"/>
              <a:gd name="connsiteX72" fmla="*/ 5059680 w 8862060"/>
              <a:gd name="connsiteY72" fmla="*/ 190500 h 304800"/>
              <a:gd name="connsiteX73" fmla="*/ 5181600 w 8862060"/>
              <a:gd name="connsiteY73" fmla="*/ 220980 h 304800"/>
              <a:gd name="connsiteX74" fmla="*/ 5227320 w 8862060"/>
              <a:gd name="connsiteY74" fmla="*/ 160020 h 304800"/>
              <a:gd name="connsiteX75" fmla="*/ 5250180 w 8862060"/>
              <a:gd name="connsiteY75" fmla="*/ 198120 h 304800"/>
              <a:gd name="connsiteX76" fmla="*/ 5349240 w 8862060"/>
              <a:gd name="connsiteY76" fmla="*/ 198120 h 304800"/>
              <a:gd name="connsiteX77" fmla="*/ 5394960 w 8862060"/>
              <a:gd name="connsiteY77" fmla="*/ 198120 h 304800"/>
              <a:gd name="connsiteX78" fmla="*/ 5471160 w 8862060"/>
              <a:gd name="connsiteY78" fmla="*/ 175260 h 304800"/>
              <a:gd name="connsiteX79" fmla="*/ 5577840 w 8862060"/>
              <a:gd name="connsiteY79" fmla="*/ 228600 h 304800"/>
              <a:gd name="connsiteX80" fmla="*/ 5615940 w 8862060"/>
              <a:gd name="connsiteY80" fmla="*/ 198120 h 304800"/>
              <a:gd name="connsiteX81" fmla="*/ 5745480 w 8862060"/>
              <a:gd name="connsiteY81" fmla="*/ 236220 h 304800"/>
              <a:gd name="connsiteX82" fmla="*/ 5852160 w 8862060"/>
              <a:gd name="connsiteY82" fmla="*/ 220980 h 304800"/>
              <a:gd name="connsiteX83" fmla="*/ 5943600 w 8862060"/>
              <a:gd name="connsiteY83" fmla="*/ 213360 h 304800"/>
              <a:gd name="connsiteX84" fmla="*/ 5996940 w 8862060"/>
              <a:gd name="connsiteY84" fmla="*/ 182880 h 304800"/>
              <a:gd name="connsiteX85" fmla="*/ 6027420 w 8862060"/>
              <a:gd name="connsiteY85" fmla="*/ 228600 h 304800"/>
              <a:gd name="connsiteX86" fmla="*/ 6065520 w 8862060"/>
              <a:gd name="connsiteY86" fmla="*/ 190500 h 304800"/>
              <a:gd name="connsiteX87" fmla="*/ 6149340 w 8862060"/>
              <a:gd name="connsiteY87" fmla="*/ 198120 h 304800"/>
              <a:gd name="connsiteX88" fmla="*/ 6217920 w 8862060"/>
              <a:gd name="connsiteY88" fmla="*/ 228600 h 304800"/>
              <a:gd name="connsiteX89" fmla="*/ 6278880 w 8862060"/>
              <a:gd name="connsiteY89" fmla="*/ 213360 h 304800"/>
              <a:gd name="connsiteX90" fmla="*/ 6324600 w 8862060"/>
              <a:gd name="connsiteY90" fmla="*/ 175260 h 304800"/>
              <a:gd name="connsiteX91" fmla="*/ 6385560 w 8862060"/>
              <a:gd name="connsiteY91" fmla="*/ 182880 h 304800"/>
              <a:gd name="connsiteX92" fmla="*/ 6446520 w 8862060"/>
              <a:gd name="connsiteY92" fmla="*/ 198120 h 304800"/>
              <a:gd name="connsiteX93" fmla="*/ 6499860 w 8862060"/>
              <a:gd name="connsiteY93" fmla="*/ 198120 h 304800"/>
              <a:gd name="connsiteX94" fmla="*/ 6606540 w 8862060"/>
              <a:gd name="connsiteY94" fmla="*/ 198120 h 304800"/>
              <a:gd name="connsiteX95" fmla="*/ 6713220 w 8862060"/>
              <a:gd name="connsiteY95" fmla="*/ 198120 h 304800"/>
              <a:gd name="connsiteX96" fmla="*/ 6774180 w 8862060"/>
              <a:gd name="connsiteY96" fmla="*/ 220980 h 304800"/>
              <a:gd name="connsiteX97" fmla="*/ 6880860 w 8862060"/>
              <a:gd name="connsiteY97" fmla="*/ 190500 h 304800"/>
              <a:gd name="connsiteX98" fmla="*/ 6934200 w 8862060"/>
              <a:gd name="connsiteY98" fmla="*/ 175260 h 304800"/>
              <a:gd name="connsiteX99" fmla="*/ 6995160 w 8862060"/>
              <a:gd name="connsiteY99" fmla="*/ 175260 h 304800"/>
              <a:gd name="connsiteX100" fmla="*/ 7132320 w 8862060"/>
              <a:gd name="connsiteY100" fmla="*/ 175260 h 304800"/>
              <a:gd name="connsiteX101" fmla="*/ 7239000 w 8862060"/>
              <a:gd name="connsiteY101" fmla="*/ 144780 h 304800"/>
              <a:gd name="connsiteX102" fmla="*/ 7315200 w 8862060"/>
              <a:gd name="connsiteY102" fmla="*/ 175260 h 304800"/>
              <a:gd name="connsiteX103" fmla="*/ 7353300 w 8862060"/>
              <a:gd name="connsiteY103" fmla="*/ 167640 h 304800"/>
              <a:gd name="connsiteX104" fmla="*/ 7391400 w 8862060"/>
              <a:gd name="connsiteY104" fmla="*/ 144780 h 304800"/>
              <a:gd name="connsiteX105" fmla="*/ 7429500 w 8862060"/>
              <a:gd name="connsiteY105" fmla="*/ 152400 h 304800"/>
              <a:gd name="connsiteX106" fmla="*/ 7505700 w 8862060"/>
              <a:gd name="connsiteY106" fmla="*/ 175260 h 304800"/>
              <a:gd name="connsiteX107" fmla="*/ 7551420 w 8862060"/>
              <a:gd name="connsiteY107" fmla="*/ 144780 h 304800"/>
              <a:gd name="connsiteX108" fmla="*/ 7604760 w 8862060"/>
              <a:gd name="connsiteY108" fmla="*/ 144780 h 304800"/>
              <a:gd name="connsiteX109" fmla="*/ 7635240 w 8862060"/>
              <a:gd name="connsiteY109" fmla="*/ 175260 h 304800"/>
              <a:gd name="connsiteX110" fmla="*/ 7680960 w 8862060"/>
              <a:gd name="connsiteY110" fmla="*/ 175260 h 304800"/>
              <a:gd name="connsiteX111" fmla="*/ 7734300 w 8862060"/>
              <a:gd name="connsiteY111" fmla="*/ 144780 h 304800"/>
              <a:gd name="connsiteX112" fmla="*/ 7810500 w 8862060"/>
              <a:gd name="connsiteY112" fmla="*/ 167640 h 304800"/>
              <a:gd name="connsiteX113" fmla="*/ 7879080 w 8862060"/>
              <a:gd name="connsiteY113" fmla="*/ 152400 h 304800"/>
              <a:gd name="connsiteX114" fmla="*/ 7909560 w 8862060"/>
              <a:gd name="connsiteY114" fmla="*/ 167640 h 304800"/>
              <a:gd name="connsiteX115" fmla="*/ 7985760 w 8862060"/>
              <a:gd name="connsiteY115" fmla="*/ 129540 h 304800"/>
              <a:gd name="connsiteX116" fmla="*/ 8023860 w 8862060"/>
              <a:gd name="connsiteY116" fmla="*/ 167640 h 304800"/>
              <a:gd name="connsiteX117" fmla="*/ 8107680 w 8862060"/>
              <a:gd name="connsiteY117" fmla="*/ 160020 h 304800"/>
              <a:gd name="connsiteX118" fmla="*/ 8199120 w 8862060"/>
              <a:gd name="connsiteY118" fmla="*/ 167640 h 304800"/>
              <a:gd name="connsiteX119" fmla="*/ 8267700 w 8862060"/>
              <a:gd name="connsiteY119" fmla="*/ 167640 h 304800"/>
              <a:gd name="connsiteX120" fmla="*/ 8389620 w 8862060"/>
              <a:gd name="connsiteY120" fmla="*/ 114300 h 304800"/>
              <a:gd name="connsiteX121" fmla="*/ 8458200 w 8862060"/>
              <a:gd name="connsiteY121" fmla="*/ 129540 h 304800"/>
              <a:gd name="connsiteX122" fmla="*/ 8534400 w 8862060"/>
              <a:gd name="connsiteY122" fmla="*/ 304800 h 304800"/>
              <a:gd name="connsiteX123" fmla="*/ 8633460 w 8862060"/>
              <a:gd name="connsiteY123" fmla="*/ 243840 h 304800"/>
              <a:gd name="connsiteX124" fmla="*/ 8702040 w 8862060"/>
              <a:gd name="connsiteY124" fmla="*/ 266700 h 304800"/>
              <a:gd name="connsiteX125" fmla="*/ 8793480 w 8862060"/>
              <a:gd name="connsiteY125" fmla="*/ 236220 h 304800"/>
              <a:gd name="connsiteX126" fmla="*/ 8831580 w 8862060"/>
              <a:gd name="connsiteY126" fmla="*/ 266700 h 304800"/>
              <a:gd name="connsiteX127" fmla="*/ 8862060 w 8862060"/>
              <a:gd name="connsiteY127" fmla="*/ 25146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</a:cxnLst>
            <a:rect l="l" t="t" r="r" b="b"/>
            <a:pathLst>
              <a:path w="8862060" h="304800">
                <a:moveTo>
                  <a:pt x="0" y="0"/>
                </a:moveTo>
                <a:lnTo>
                  <a:pt x="45720" y="30480"/>
                </a:lnTo>
                <a:lnTo>
                  <a:pt x="76200" y="15240"/>
                </a:lnTo>
                <a:lnTo>
                  <a:pt x="137160" y="45720"/>
                </a:lnTo>
                <a:lnTo>
                  <a:pt x="243840" y="38100"/>
                </a:lnTo>
                <a:lnTo>
                  <a:pt x="274320" y="38100"/>
                </a:lnTo>
                <a:lnTo>
                  <a:pt x="358140" y="60960"/>
                </a:lnTo>
                <a:lnTo>
                  <a:pt x="426720" y="45720"/>
                </a:lnTo>
                <a:lnTo>
                  <a:pt x="548640" y="53340"/>
                </a:lnTo>
                <a:lnTo>
                  <a:pt x="579120" y="30480"/>
                </a:lnTo>
                <a:lnTo>
                  <a:pt x="662940" y="91440"/>
                </a:lnTo>
                <a:lnTo>
                  <a:pt x="754380" y="53340"/>
                </a:lnTo>
                <a:lnTo>
                  <a:pt x="800100" y="91440"/>
                </a:lnTo>
                <a:lnTo>
                  <a:pt x="822960" y="38100"/>
                </a:lnTo>
                <a:lnTo>
                  <a:pt x="922020" y="76200"/>
                </a:lnTo>
                <a:lnTo>
                  <a:pt x="1036320" y="60960"/>
                </a:lnTo>
                <a:lnTo>
                  <a:pt x="1165860" y="68580"/>
                </a:lnTo>
                <a:lnTo>
                  <a:pt x="1188720" y="83820"/>
                </a:lnTo>
                <a:lnTo>
                  <a:pt x="1272540" y="83820"/>
                </a:lnTo>
                <a:lnTo>
                  <a:pt x="1287780" y="129540"/>
                </a:lnTo>
                <a:lnTo>
                  <a:pt x="1333500" y="76200"/>
                </a:lnTo>
                <a:lnTo>
                  <a:pt x="1341120" y="106680"/>
                </a:lnTo>
                <a:lnTo>
                  <a:pt x="1417320" y="99060"/>
                </a:lnTo>
                <a:lnTo>
                  <a:pt x="1447800" y="114300"/>
                </a:lnTo>
                <a:lnTo>
                  <a:pt x="1493520" y="121920"/>
                </a:lnTo>
                <a:lnTo>
                  <a:pt x="1546860" y="68580"/>
                </a:lnTo>
                <a:lnTo>
                  <a:pt x="1600200" y="91440"/>
                </a:lnTo>
                <a:lnTo>
                  <a:pt x="1661160" y="91440"/>
                </a:lnTo>
                <a:lnTo>
                  <a:pt x="1760220" y="99060"/>
                </a:lnTo>
                <a:lnTo>
                  <a:pt x="1828800" y="106680"/>
                </a:lnTo>
                <a:lnTo>
                  <a:pt x="1965960" y="60960"/>
                </a:lnTo>
                <a:lnTo>
                  <a:pt x="2057400" y="76200"/>
                </a:lnTo>
                <a:lnTo>
                  <a:pt x="2125980" y="76200"/>
                </a:lnTo>
                <a:lnTo>
                  <a:pt x="2202180" y="114300"/>
                </a:lnTo>
                <a:lnTo>
                  <a:pt x="2286000" y="68580"/>
                </a:lnTo>
                <a:lnTo>
                  <a:pt x="2354580" y="99060"/>
                </a:lnTo>
                <a:lnTo>
                  <a:pt x="2400300" y="106680"/>
                </a:lnTo>
                <a:lnTo>
                  <a:pt x="2468880" y="60960"/>
                </a:lnTo>
                <a:lnTo>
                  <a:pt x="2514600" y="106680"/>
                </a:lnTo>
                <a:lnTo>
                  <a:pt x="2613660" y="68580"/>
                </a:lnTo>
                <a:lnTo>
                  <a:pt x="2697480" y="68580"/>
                </a:lnTo>
                <a:lnTo>
                  <a:pt x="2796540" y="114300"/>
                </a:lnTo>
                <a:lnTo>
                  <a:pt x="2872740" y="99060"/>
                </a:lnTo>
                <a:lnTo>
                  <a:pt x="3017520" y="106680"/>
                </a:lnTo>
                <a:lnTo>
                  <a:pt x="3124200" y="99060"/>
                </a:lnTo>
                <a:lnTo>
                  <a:pt x="3223260" y="99060"/>
                </a:lnTo>
                <a:lnTo>
                  <a:pt x="3375660" y="38100"/>
                </a:lnTo>
                <a:lnTo>
                  <a:pt x="3383280" y="83820"/>
                </a:lnTo>
                <a:lnTo>
                  <a:pt x="3497580" y="137160"/>
                </a:lnTo>
                <a:lnTo>
                  <a:pt x="3604260" y="160020"/>
                </a:lnTo>
                <a:lnTo>
                  <a:pt x="3657600" y="144780"/>
                </a:lnTo>
                <a:lnTo>
                  <a:pt x="3657600" y="144780"/>
                </a:lnTo>
                <a:lnTo>
                  <a:pt x="3771900" y="160020"/>
                </a:lnTo>
                <a:lnTo>
                  <a:pt x="3870960" y="175260"/>
                </a:lnTo>
                <a:lnTo>
                  <a:pt x="3954780" y="167640"/>
                </a:lnTo>
                <a:lnTo>
                  <a:pt x="3985260" y="152400"/>
                </a:lnTo>
                <a:lnTo>
                  <a:pt x="4046220" y="160020"/>
                </a:lnTo>
                <a:lnTo>
                  <a:pt x="4130040" y="152400"/>
                </a:lnTo>
                <a:lnTo>
                  <a:pt x="4191000" y="175260"/>
                </a:lnTo>
                <a:lnTo>
                  <a:pt x="4282440" y="152400"/>
                </a:lnTo>
                <a:lnTo>
                  <a:pt x="4312920" y="182880"/>
                </a:lnTo>
                <a:lnTo>
                  <a:pt x="4366260" y="137160"/>
                </a:lnTo>
                <a:lnTo>
                  <a:pt x="4434840" y="190500"/>
                </a:lnTo>
                <a:lnTo>
                  <a:pt x="4511040" y="198120"/>
                </a:lnTo>
                <a:lnTo>
                  <a:pt x="4579620" y="213360"/>
                </a:lnTo>
                <a:lnTo>
                  <a:pt x="4648200" y="220980"/>
                </a:lnTo>
                <a:lnTo>
                  <a:pt x="4724400" y="167640"/>
                </a:lnTo>
                <a:lnTo>
                  <a:pt x="4800600" y="205740"/>
                </a:lnTo>
                <a:lnTo>
                  <a:pt x="4823460" y="190500"/>
                </a:lnTo>
                <a:lnTo>
                  <a:pt x="4876800" y="220980"/>
                </a:lnTo>
                <a:lnTo>
                  <a:pt x="4930140" y="190500"/>
                </a:lnTo>
                <a:lnTo>
                  <a:pt x="5006340" y="213360"/>
                </a:lnTo>
                <a:lnTo>
                  <a:pt x="5059680" y="190500"/>
                </a:lnTo>
                <a:lnTo>
                  <a:pt x="5181600" y="220980"/>
                </a:lnTo>
                <a:lnTo>
                  <a:pt x="5227320" y="160020"/>
                </a:lnTo>
                <a:lnTo>
                  <a:pt x="5250180" y="198120"/>
                </a:lnTo>
                <a:lnTo>
                  <a:pt x="5349240" y="198120"/>
                </a:lnTo>
                <a:lnTo>
                  <a:pt x="5394960" y="198120"/>
                </a:lnTo>
                <a:lnTo>
                  <a:pt x="5471160" y="175260"/>
                </a:lnTo>
                <a:lnTo>
                  <a:pt x="5577840" y="228600"/>
                </a:lnTo>
                <a:lnTo>
                  <a:pt x="5615940" y="198120"/>
                </a:lnTo>
                <a:lnTo>
                  <a:pt x="5745480" y="236220"/>
                </a:lnTo>
                <a:lnTo>
                  <a:pt x="5852160" y="220980"/>
                </a:lnTo>
                <a:lnTo>
                  <a:pt x="5943600" y="213360"/>
                </a:lnTo>
                <a:lnTo>
                  <a:pt x="5996940" y="182880"/>
                </a:lnTo>
                <a:lnTo>
                  <a:pt x="6027420" y="228600"/>
                </a:lnTo>
                <a:lnTo>
                  <a:pt x="6065520" y="190500"/>
                </a:lnTo>
                <a:lnTo>
                  <a:pt x="6149340" y="198120"/>
                </a:lnTo>
                <a:lnTo>
                  <a:pt x="6217920" y="228600"/>
                </a:lnTo>
                <a:lnTo>
                  <a:pt x="6278880" y="213360"/>
                </a:lnTo>
                <a:lnTo>
                  <a:pt x="6324600" y="175260"/>
                </a:lnTo>
                <a:lnTo>
                  <a:pt x="6385560" y="182880"/>
                </a:lnTo>
                <a:lnTo>
                  <a:pt x="6446520" y="198120"/>
                </a:lnTo>
                <a:lnTo>
                  <a:pt x="6499860" y="198120"/>
                </a:lnTo>
                <a:lnTo>
                  <a:pt x="6606540" y="198120"/>
                </a:lnTo>
                <a:lnTo>
                  <a:pt x="6713220" y="198120"/>
                </a:lnTo>
                <a:lnTo>
                  <a:pt x="6774180" y="220980"/>
                </a:lnTo>
                <a:lnTo>
                  <a:pt x="6880860" y="190500"/>
                </a:lnTo>
                <a:lnTo>
                  <a:pt x="6934200" y="175260"/>
                </a:lnTo>
                <a:lnTo>
                  <a:pt x="6995160" y="175260"/>
                </a:lnTo>
                <a:lnTo>
                  <a:pt x="7132320" y="175260"/>
                </a:lnTo>
                <a:lnTo>
                  <a:pt x="7239000" y="144780"/>
                </a:lnTo>
                <a:lnTo>
                  <a:pt x="7315200" y="175260"/>
                </a:lnTo>
                <a:lnTo>
                  <a:pt x="7353300" y="167640"/>
                </a:lnTo>
                <a:lnTo>
                  <a:pt x="7391400" y="144780"/>
                </a:lnTo>
                <a:lnTo>
                  <a:pt x="7429500" y="152400"/>
                </a:lnTo>
                <a:lnTo>
                  <a:pt x="7505700" y="175260"/>
                </a:lnTo>
                <a:lnTo>
                  <a:pt x="7551420" y="144780"/>
                </a:lnTo>
                <a:lnTo>
                  <a:pt x="7604760" y="144780"/>
                </a:lnTo>
                <a:lnTo>
                  <a:pt x="7635240" y="175260"/>
                </a:lnTo>
                <a:lnTo>
                  <a:pt x="7680960" y="175260"/>
                </a:lnTo>
                <a:lnTo>
                  <a:pt x="7734300" y="144780"/>
                </a:lnTo>
                <a:lnTo>
                  <a:pt x="7810500" y="167640"/>
                </a:lnTo>
                <a:lnTo>
                  <a:pt x="7879080" y="152400"/>
                </a:lnTo>
                <a:lnTo>
                  <a:pt x="7909560" y="167640"/>
                </a:lnTo>
                <a:lnTo>
                  <a:pt x="7985760" y="129540"/>
                </a:lnTo>
                <a:lnTo>
                  <a:pt x="8023860" y="167640"/>
                </a:lnTo>
                <a:lnTo>
                  <a:pt x="8107680" y="160020"/>
                </a:lnTo>
                <a:lnTo>
                  <a:pt x="8199120" y="167640"/>
                </a:lnTo>
                <a:lnTo>
                  <a:pt x="8267700" y="167640"/>
                </a:lnTo>
                <a:lnTo>
                  <a:pt x="8389620" y="114300"/>
                </a:lnTo>
                <a:lnTo>
                  <a:pt x="8458200" y="129540"/>
                </a:lnTo>
                <a:lnTo>
                  <a:pt x="8534400" y="304800"/>
                </a:lnTo>
                <a:lnTo>
                  <a:pt x="8633460" y="243840"/>
                </a:lnTo>
                <a:lnTo>
                  <a:pt x="8702040" y="266700"/>
                </a:lnTo>
                <a:lnTo>
                  <a:pt x="8793480" y="236220"/>
                </a:lnTo>
                <a:lnTo>
                  <a:pt x="8831580" y="266700"/>
                </a:lnTo>
                <a:lnTo>
                  <a:pt x="8862060" y="251460"/>
                </a:lnTo>
              </a:path>
            </a:pathLst>
          </a:cu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E682E0E8-338B-4DE9-A4A5-CDE840CBD059}"/>
              </a:ext>
            </a:extLst>
          </p:cNvPr>
          <p:cNvSpPr/>
          <p:nvPr/>
        </p:nvSpPr>
        <p:spPr>
          <a:xfrm>
            <a:off x="1882140" y="2849880"/>
            <a:ext cx="8869680" cy="289560"/>
          </a:xfrm>
          <a:custGeom>
            <a:avLst/>
            <a:gdLst>
              <a:gd name="connsiteX0" fmla="*/ 0 w 8869680"/>
              <a:gd name="connsiteY0" fmla="*/ 15240 h 289560"/>
              <a:gd name="connsiteX1" fmla="*/ 60960 w 8869680"/>
              <a:gd name="connsiteY1" fmla="*/ 15240 h 289560"/>
              <a:gd name="connsiteX2" fmla="*/ 190500 w 8869680"/>
              <a:gd name="connsiteY2" fmla="*/ 45720 h 289560"/>
              <a:gd name="connsiteX3" fmla="*/ 251460 w 8869680"/>
              <a:gd name="connsiteY3" fmla="*/ 60960 h 289560"/>
              <a:gd name="connsiteX4" fmla="*/ 350520 w 8869680"/>
              <a:gd name="connsiteY4" fmla="*/ 30480 h 289560"/>
              <a:gd name="connsiteX5" fmla="*/ 464820 w 8869680"/>
              <a:gd name="connsiteY5" fmla="*/ 30480 h 289560"/>
              <a:gd name="connsiteX6" fmla="*/ 495300 w 8869680"/>
              <a:gd name="connsiteY6" fmla="*/ 30480 h 289560"/>
              <a:gd name="connsiteX7" fmla="*/ 541020 w 8869680"/>
              <a:gd name="connsiteY7" fmla="*/ 30480 h 289560"/>
              <a:gd name="connsiteX8" fmla="*/ 647700 w 8869680"/>
              <a:gd name="connsiteY8" fmla="*/ 30480 h 289560"/>
              <a:gd name="connsiteX9" fmla="*/ 807720 w 8869680"/>
              <a:gd name="connsiteY9" fmla="*/ 60960 h 289560"/>
              <a:gd name="connsiteX10" fmla="*/ 929640 w 8869680"/>
              <a:gd name="connsiteY10" fmla="*/ 45720 h 289560"/>
              <a:gd name="connsiteX11" fmla="*/ 1059180 w 8869680"/>
              <a:gd name="connsiteY11" fmla="*/ 60960 h 289560"/>
              <a:gd name="connsiteX12" fmla="*/ 1112520 w 8869680"/>
              <a:gd name="connsiteY12" fmla="*/ 91440 h 289560"/>
              <a:gd name="connsiteX13" fmla="*/ 1188720 w 8869680"/>
              <a:gd name="connsiteY13" fmla="*/ 60960 h 289560"/>
              <a:gd name="connsiteX14" fmla="*/ 1234440 w 8869680"/>
              <a:gd name="connsiteY14" fmla="*/ 60960 h 289560"/>
              <a:gd name="connsiteX15" fmla="*/ 1249680 w 8869680"/>
              <a:gd name="connsiteY15" fmla="*/ 114300 h 289560"/>
              <a:gd name="connsiteX16" fmla="*/ 1318260 w 8869680"/>
              <a:gd name="connsiteY16" fmla="*/ 60960 h 289560"/>
              <a:gd name="connsiteX17" fmla="*/ 1424940 w 8869680"/>
              <a:gd name="connsiteY17" fmla="*/ 76200 h 289560"/>
              <a:gd name="connsiteX18" fmla="*/ 1546860 w 8869680"/>
              <a:gd name="connsiteY18" fmla="*/ 121920 h 289560"/>
              <a:gd name="connsiteX19" fmla="*/ 1623060 w 8869680"/>
              <a:gd name="connsiteY19" fmla="*/ 68580 h 289560"/>
              <a:gd name="connsiteX20" fmla="*/ 1706880 w 8869680"/>
              <a:gd name="connsiteY20" fmla="*/ 45720 h 289560"/>
              <a:gd name="connsiteX21" fmla="*/ 1760220 w 8869680"/>
              <a:gd name="connsiteY21" fmla="*/ 76200 h 289560"/>
              <a:gd name="connsiteX22" fmla="*/ 1821180 w 8869680"/>
              <a:gd name="connsiteY22" fmla="*/ 60960 h 289560"/>
              <a:gd name="connsiteX23" fmla="*/ 1889760 w 8869680"/>
              <a:gd name="connsiteY23" fmla="*/ 60960 h 289560"/>
              <a:gd name="connsiteX24" fmla="*/ 1973580 w 8869680"/>
              <a:gd name="connsiteY24" fmla="*/ 106680 h 289560"/>
              <a:gd name="connsiteX25" fmla="*/ 2026920 w 8869680"/>
              <a:gd name="connsiteY25" fmla="*/ 68580 h 289560"/>
              <a:gd name="connsiteX26" fmla="*/ 2103120 w 8869680"/>
              <a:gd name="connsiteY26" fmla="*/ 30480 h 289560"/>
              <a:gd name="connsiteX27" fmla="*/ 2156460 w 8869680"/>
              <a:gd name="connsiteY27" fmla="*/ 60960 h 289560"/>
              <a:gd name="connsiteX28" fmla="*/ 2194560 w 8869680"/>
              <a:gd name="connsiteY28" fmla="*/ 91440 h 289560"/>
              <a:gd name="connsiteX29" fmla="*/ 2263140 w 8869680"/>
              <a:gd name="connsiteY29" fmla="*/ 53340 h 289560"/>
              <a:gd name="connsiteX30" fmla="*/ 2301240 w 8869680"/>
              <a:gd name="connsiteY30" fmla="*/ 53340 h 289560"/>
              <a:gd name="connsiteX31" fmla="*/ 2354580 w 8869680"/>
              <a:gd name="connsiteY31" fmla="*/ 68580 h 289560"/>
              <a:gd name="connsiteX32" fmla="*/ 2377440 w 8869680"/>
              <a:gd name="connsiteY32" fmla="*/ 76200 h 289560"/>
              <a:gd name="connsiteX33" fmla="*/ 2377440 w 8869680"/>
              <a:gd name="connsiteY33" fmla="*/ 76200 h 289560"/>
              <a:gd name="connsiteX34" fmla="*/ 2468880 w 8869680"/>
              <a:gd name="connsiteY34" fmla="*/ 99060 h 289560"/>
              <a:gd name="connsiteX35" fmla="*/ 2514600 w 8869680"/>
              <a:gd name="connsiteY35" fmla="*/ 7620 h 289560"/>
              <a:gd name="connsiteX36" fmla="*/ 2567940 w 8869680"/>
              <a:gd name="connsiteY36" fmla="*/ 53340 h 289560"/>
              <a:gd name="connsiteX37" fmla="*/ 2659380 w 8869680"/>
              <a:gd name="connsiteY37" fmla="*/ 45720 h 289560"/>
              <a:gd name="connsiteX38" fmla="*/ 2743200 w 8869680"/>
              <a:gd name="connsiteY38" fmla="*/ 60960 h 289560"/>
              <a:gd name="connsiteX39" fmla="*/ 2834640 w 8869680"/>
              <a:gd name="connsiteY39" fmla="*/ 76200 h 289560"/>
              <a:gd name="connsiteX40" fmla="*/ 2933700 w 8869680"/>
              <a:gd name="connsiteY40" fmla="*/ 38100 h 289560"/>
              <a:gd name="connsiteX41" fmla="*/ 2987040 w 8869680"/>
              <a:gd name="connsiteY41" fmla="*/ 83820 h 289560"/>
              <a:gd name="connsiteX42" fmla="*/ 3070860 w 8869680"/>
              <a:gd name="connsiteY42" fmla="*/ 15240 h 289560"/>
              <a:gd name="connsiteX43" fmla="*/ 3116580 w 8869680"/>
              <a:gd name="connsiteY43" fmla="*/ 38100 h 289560"/>
              <a:gd name="connsiteX44" fmla="*/ 3154680 w 8869680"/>
              <a:gd name="connsiteY44" fmla="*/ 15240 h 289560"/>
              <a:gd name="connsiteX45" fmla="*/ 3223260 w 8869680"/>
              <a:gd name="connsiteY45" fmla="*/ 0 h 289560"/>
              <a:gd name="connsiteX46" fmla="*/ 3299460 w 8869680"/>
              <a:gd name="connsiteY46" fmla="*/ 38100 h 289560"/>
              <a:gd name="connsiteX47" fmla="*/ 3406140 w 8869680"/>
              <a:gd name="connsiteY47" fmla="*/ 38100 h 289560"/>
              <a:gd name="connsiteX48" fmla="*/ 3436620 w 8869680"/>
              <a:gd name="connsiteY48" fmla="*/ 60960 h 289560"/>
              <a:gd name="connsiteX49" fmla="*/ 3489960 w 8869680"/>
              <a:gd name="connsiteY49" fmla="*/ 68580 h 289560"/>
              <a:gd name="connsiteX50" fmla="*/ 3528060 w 8869680"/>
              <a:gd name="connsiteY50" fmla="*/ 99060 h 289560"/>
              <a:gd name="connsiteX51" fmla="*/ 3619500 w 8869680"/>
              <a:gd name="connsiteY51" fmla="*/ 91440 h 289560"/>
              <a:gd name="connsiteX52" fmla="*/ 3764280 w 8869680"/>
              <a:gd name="connsiteY52" fmla="*/ 15240 h 289560"/>
              <a:gd name="connsiteX53" fmla="*/ 3863340 w 8869680"/>
              <a:gd name="connsiteY53" fmla="*/ 91440 h 289560"/>
              <a:gd name="connsiteX54" fmla="*/ 3970020 w 8869680"/>
              <a:gd name="connsiteY54" fmla="*/ 91440 h 289560"/>
              <a:gd name="connsiteX55" fmla="*/ 4000500 w 8869680"/>
              <a:gd name="connsiteY55" fmla="*/ 144780 h 289560"/>
              <a:gd name="connsiteX56" fmla="*/ 4000500 w 8869680"/>
              <a:gd name="connsiteY56" fmla="*/ 144780 h 289560"/>
              <a:gd name="connsiteX57" fmla="*/ 4099560 w 8869680"/>
              <a:gd name="connsiteY57" fmla="*/ 91440 h 289560"/>
              <a:gd name="connsiteX58" fmla="*/ 4175760 w 8869680"/>
              <a:gd name="connsiteY58" fmla="*/ 106680 h 289560"/>
              <a:gd name="connsiteX59" fmla="*/ 4290060 w 8869680"/>
              <a:gd name="connsiteY59" fmla="*/ 144780 h 289560"/>
              <a:gd name="connsiteX60" fmla="*/ 4351020 w 8869680"/>
              <a:gd name="connsiteY60" fmla="*/ 114300 h 289560"/>
              <a:gd name="connsiteX61" fmla="*/ 4411980 w 8869680"/>
              <a:gd name="connsiteY61" fmla="*/ 144780 h 289560"/>
              <a:gd name="connsiteX62" fmla="*/ 4511040 w 8869680"/>
              <a:gd name="connsiteY62" fmla="*/ 99060 h 289560"/>
              <a:gd name="connsiteX63" fmla="*/ 4541520 w 8869680"/>
              <a:gd name="connsiteY63" fmla="*/ 137160 h 289560"/>
              <a:gd name="connsiteX64" fmla="*/ 4572000 w 8869680"/>
              <a:gd name="connsiteY64" fmla="*/ 114300 h 289560"/>
              <a:gd name="connsiteX65" fmla="*/ 4693920 w 8869680"/>
              <a:gd name="connsiteY65" fmla="*/ 144780 h 289560"/>
              <a:gd name="connsiteX66" fmla="*/ 4785360 w 8869680"/>
              <a:gd name="connsiteY66" fmla="*/ 129540 h 289560"/>
              <a:gd name="connsiteX67" fmla="*/ 4892040 w 8869680"/>
              <a:gd name="connsiteY67" fmla="*/ 175260 h 289560"/>
              <a:gd name="connsiteX68" fmla="*/ 4922520 w 8869680"/>
              <a:gd name="connsiteY68" fmla="*/ 198120 h 289560"/>
              <a:gd name="connsiteX69" fmla="*/ 4968240 w 8869680"/>
              <a:gd name="connsiteY69" fmla="*/ 190500 h 289560"/>
              <a:gd name="connsiteX70" fmla="*/ 4998720 w 8869680"/>
              <a:gd name="connsiteY70" fmla="*/ 213360 h 289560"/>
              <a:gd name="connsiteX71" fmla="*/ 5067300 w 8869680"/>
              <a:gd name="connsiteY71" fmla="*/ 144780 h 289560"/>
              <a:gd name="connsiteX72" fmla="*/ 5135880 w 8869680"/>
              <a:gd name="connsiteY72" fmla="*/ 144780 h 289560"/>
              <a:gd name="connsiteX73" fmla="*/ 5196840 w 8869680"/>
              <a:gd name="connsiteY73" fmla="*/ 175260 h 289560"/>
              <a:gd name="connsiteX74" fmla="*/ 5250180 w 8869680"/>
              <a:gd name="connsiteY74" fmla="*/ 129540 h 289560"/>
              <a:gd name="connsiteX75" fmla="*/ 5295900 w 8869680"/>
              <a:gd name="connsiteY75" fmla="*/ 83820 h 289560"/>
              <a:gd name="connsiteX76" fmla="*/ 5387340 w 8869680"/>
              <a:gd name="connsiteY76" fmla="*/ 137160 h 289560"/>
              <a:gd name="connsiteX77" fmla="*/ 5471160 w 8869680"/>
              <a:gd name="connsiteY77" fmla="*/ 175260 h 289560"/>
              <a:gd name="connsiteX78" fmla="*/ 5516880 w 8869680"/>
              <a:gd name="connsiteY78" fmla="*/ 106680 h 289560"/>
              <a:gd name="connsiteX79" fmla="*/ 5562600 w 8869680"/>
              <a:gd name="connsiteY79" fmla="*/ 129540 h 289560"/>
              <a:gd name="connsiteX80" fmla="*/ 5615940 w 8869680"/>
              <a:gd name="connsiteY80" fmla="*/ 106680 h 289560"/>
              <a:gd name="connsiteX81" fmla="*/ 5669280 w 8869680"/>
              <a:gd name="connsiteY81" fmla="*/ 152400 h 289560"/>
              <a:gd name="connsiteX82" fmla="*/ 5737860 w 8869680"/>
              <a:gd name="connsiteY82" fmla="*/ 129540 h 289560"/>
              <a:gd name="connsiteX83" fmla="*/ 5775960 w 8869680"/>
              <a:gd name="connsiteY83" fmla="*/ 160020 h 289560"/>
              <a:gd name="connsiteX84" fmla="*/ 5844540 w 8869680"/>
              <a:gd name="connsiteY84" fmla="*/ 152400 h 289560"/>
              <a:gd name="connsiteX85" fmla="*/ 5958840 w 8869680"/>
              <a:gd name="connsiteY85" fmla="*/ 190500 h 289560"/>
              <a:gd name="connsiteX86" fmla="*/ 6012180 w 8869680"/>
              <a:gd name="connsiteY86" fmla="*/ 190500 h 289560"/>
              <a:gd name="connsiteX87" fmla="*/ 6027420 w 8869680"/>
              <a:gd name="connsiteY87" fmla="*/ 152400 h 289560"/>
              <a:gd name="connsiteX88" fmla="*/ 6073140 w 8869680"/>
              <a:gd name="connsiteY88" fmla="*/ 175260 h 289560"/>
              <a:gd name="connsiteX89" fmla="*/ 6103620 w 8869680"/>
              <a:gd name="connsiteY89" fmla="*/ 167640 h 289560"/>
              <a:gd name="connsiteX90" fmla="*/ 6141720 w 8869680"/>
              <a:gd name="connsiteY90" fmla="*/ 190500 h 289560"/>
              <a:gd name="connsiteX91" fmla="*/ 6225540 w 8869680"/>
              <a:gd name="connsiteY91" fmla="*/ 198120 h 289560"/>
              <a:gd name="connsiteX92" fmla="*/ 6309360 w 8869680"/>
              <a:gd name="connsiteY92" fmla="*/ 198120 h 289560"/>
              <a:gd name="connsiteX93" fmla="*/ 6362700 w 8869680"/>
              <a:gd name="connsiteY93" fmla="*/ 160020 h 289560"/>
              <a:gd name="connsiteX94" fmla="*/ 6416040 w 8869680"/>
              <a:gd name="connsiteY94" fmla="*/ 220980 h 289560"/>
              <a:gd name="connsiteX95" fmla="*/ 6492240 w 8869680"/>
              <a:gd name="connsiteY95" fmla="*/ 220980 h 289560"/>
              <a:gd name="connsiteX96" fmla="*/ 6545580 w 8869680"/>
              <a:gd name="connsiteY96" fmla="*/ 251460 h 289560"/>
              <a:gd name="connsiteX97" fmla="*/ 6621780 w 8869680"/>
              <a:gd name="connsiteY97" fmla="*/ 190500 h 289560"/>
              <a:gd name="connsiteX98" fmla="*/ 6675120 w 8869680"/>
              <a:gd name="connsiteY98" fmla="*/ 220980 h 289560"/>
              <a:gd name="connsiteX99" fmla="*/ 6781800 w 8869680"/>
              <a:gd name="connsiteY99" fmla="*/ 182880 h 289560"/>
              <a:gd name="connsiteX100" fmla="*/ 6835140 w 8869680"/>
              <a:gd name="connsiteY100" fmla="*/ 205740 h 289560"/>
              <a:gd name="connsiteX101" fmla="*/ 6896100 w 8869680"/>
              <a:gd name="connsiteY101" fmla="*/ 160020 h 289560"/>
              <a:gd name="connsiteX102" fmla="*/ 6957060 w 8869680"/>
              <a:gd name="connsiteY102" fmla="*/ 190500 h 289560"/>
              <a:gd name="connsiteX103" fmla="*/ 7002780 w 8869680"/>
              <a:gd name="connsiteY103" fmla="*/ 160020 h 289560"/>
              <a:gd name="connsiteX104" fmla="*/ 7056120 w 8869680"/>
              <a:gd name="connsiteY104" fmla="*/ 205740 h 289560"/>
              <a:gd name="connsiteX105" fmla="*/ 7132320 w 8869680"/>
              <a:gd name="connsiteY105" fmla="*/ 167640 h 289560"/>
              <a:gd name="connsiteX106" fmla="*/ 7185660 w 8869680"/>
              <a:gd name="connsiteY106" fmla="*/ 190500 h 289560"/>
              <a:gd name="connsiteX107" fmla="*/ 7284720 w 8869680"/>
              <a:gd name="connsiteY107" fmla="*/ 152400 h 289560"/>
              <a:gd name="connsiteX108" fmla="*/ 7368540 w 8869680"/>
              <a:gd name="connsiteY108" fmla="*/ 152400 h 289560"/>
              <a:gd name="connsiteX109" fmla="*/ 7482840 w 8869680"/>
              <a:gd name="connsiteY109" fmla="*/ 182880 h 289560"/>
              <a:gd name="connsiteX110" fmla="*/ 7513320 w 8869680"/>
              <a:gd name="connsiteY110" fmla="*/ 205740 h 289560"/>
              <a:gd name="connsiteX111" fmla="*/ 7597140 w 8869680"/>
              <a:gd name="connsiteY111" fmla="*/ 205740 h 289560"/>
              <a:gd name="connsiteX112" fmla="*/ 7726680 w 8869680"/>
              <a:gd name="connsiteY112" fmla="*/ 190500 h 289560"/>
              <a:gd name="connsiteX113" fmla="*/ 7780020 w 8869680"/>
              <a:gd name="connsiteY113" fmla="*/ 144780 h 289560"/>
              <a:gd name="connsiteX114" fmla="*/ 7848600 w 8869680"/>
              <a:gd name="connsiteY114" fmla="*/ 175260 h 289560"/>
              <a:gd name="connsiteX115" fmla="*/ 7909560 w 8869680"/>
              <a:gd name="connsiteY115" fmla="*/ 144780 h 289560"/>
              <a:gd name="connsiteX116" fmla="*/ 7985760 w 8869680"/>
              <a:gd name="connsiteY116" fmla="*/ 182880 h 289560"/>
              <a:gd name="connsiteX117" fmla="*/ 8001000 w 8869680"/>
              <a:gd name="connsiteY117" fmla="*/ 129540 h 289560"/>
              <a:gd name="connsiteX118" fmla="*/ 8092440 w 8869680"/>
              <a:gd name="connsiteY118" fmla="*/ 160020 h 289560"/>
              <a:gd name="connsiteX119" fmla="*/ 8092440 w 8869680"/>
              <a:gd name="connsiteY119" fmla="*/ 160020 h 289560"/>
              <a:gd name="connsiteX120" fmla="*/ 8145780 w 8869680"/>
              <a:gd name="connsiteY120" fmla="*/ 175260 h 289560"/>
              <a:gd name="connsiteX121" fmla="*/ 8260080 w 8869680"/>
              <a:gd name="connsiteY121" fmla="*/ 144780 h 289560"/>
              <a:gd name="connsiteX122" fmla="*/ 8351520 w 8869680"/>
              <a:gd name="connsiteY122" fmla="*/ 91440 h 289560"/>
              <a:gd name="connsiteX123" fmla="*/ 8404860 w 8869680"/>
              <a:gd name="connsiteY123" fmla="*/ 152400 h 289560"/>
              <a:gd name="connsiteX124" fmla="*/ 8404860 w 8869680"/>
              <a:gd name="connsiteY124" fmla="*/ 190500 h 289560"/>
              <a:gd name="connsiteX125" fmla="*/ 8465820 w 8869680"/>
              <a:gd name="connsiteY125" fmla="*/ 144780 h 289560"/>
              <a:gd name="connsiteX126" fmla="*/ 8511540 w 8869680"/>
              <a:gd name="connsiteY126" fmla="*/ 160020 h 289560"/>
              <a:gd name="connsiteX127" fmla="*/ 8557260 w 8869680"/>
              <a:gd name="connsiteY127" fmla="*/ 289560 h 289560"/>
              <a:gd name="connsiteX128" fmla="*/ 8633460 w 8869680"/>
              <a:gd name="connsiteY128" fmla="*/ 259080 h 289560"/>
              <a:gd name="connsiteX129" fmla="*/ 8686800 w 8869680"/>
              <a:gd name="connsiteY129" fmla="*/ 160020 h 289560"/>
              <a:gd name="connsiteX130" fmla="*/ 8724900 w 8869680"/>
              <a:gd name="connsiteY130" fmla="*/ 190500 h 289560"/>
              <a:gd name="connsiteX131" fmla="*/ 8785860 w 8869680"/>
              <a:gd name="connsiteY131" fmla="*/ 220980 h 289560"/>
              <a:gd name="connsiteX132" fmla="*/ 8816340 w 8869680"/>
              <a:gd name="connsiteY132" fmla="*/ 251460 h 289560"/>
              <a:gd name="connsiteX133" fmla="*/ 8869680 w 8869680"/>
              <a:gd name="connsiteY133" fmla="*/ 220980 h 2895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</a:cxnLst>
            <a:rect l="l" t="t" r="r" b="b"/>
            <a:pathLst>
              <a:path w="8869680" h="289560">
                <a:moveTo>
                  <a:pt x="0" y="15240"/>
                </a:moveTo>
                <a:lnTo>
                  <a:pt x="60960" y="15240"/>
                </a:lnTo>
                <a:lnTo>
                  <a:pt x="190500" y="45720"/>
                </a:lnTo>
                <a:lnTo>
                  <a:pt x="251460" y="60960"/>
                </a:lnTo>
                <a:lnTo>
                  <a:pt x="350520" y="30480"/>
                </a:lnTo>
                <a:lnTo>
                  <a:pt x="464820" y="30480"/>
                </a:lnTo>
                <a:lnTo>
                  <a:pt x="495300" y="30480"/>
                </a:lnTo>
                <a:lnTo>
                  <a:pt x="541020" y="30480"/>
                </a:lnTo>
                <a:lnTo>
                  <a:pt x="647700" y="30480"/>
                </a:lnTo>
                <a:lnTo>
                  <a:pt x="807720" y="60960"/>
                </a:lnTo>
                <a:lnTo>
                  <a:pt x="929640" y="45720"/>
                </a:lnTo>
                <a:lnTo>
                  <a:pt x="1059180" y="60960"/>
                </a:lnTo>
                <a:lnTo>
                  <a:pt x="1112520" y="91440"/>
                </a:lnTo>
                <a:lnTo>
                  <a:pt x="1188720" y="60960"/>
                </a:lnTo>
                <a:lnTo>
                  <a:pt x="1234440" y="60960"/>
                </a:lnTo>
                <a:lnTo>
                  <a:pt x="1249680" y="114300"/>
                </a:lnTo>
                <a:lnTo>
                  <a:pt x="1318260" y="60960"/>
                </a:lnTo>
                <a:lnTo>
                  <a:pt x="1424940" y="76200"/>
                </a:lnTo>
                <a:lnTo>
                  <a:pt x="1546860" y="121920"/>
                </a:lnTo>
                <a:lnTo>
                  <a:pt x="1623060" y="68580"/>
                </a:lnTo>
                <a:lnTo>
                  <a:pt x="1706880" y="45720"/>
                </a:lnTo>
                <a:lnTo>
                  <a:pt x="1760220" y="76200"/>
                </a:lnTo>
                <a:lnTo>
                  <a:pt x="1821180" y="60960"/>
                </a:lnTo>
                <a:lnTo>
                  <a:pt x="1889760" y="60960"/>
                </a:lnTo>
                <a:lnTo>
                  <a:pt x="1973580" y="106680"/>
                </a:lnTo>
                <a:lnTo>
                  <a:pt x="2026920" y="68580"/>
                </a:lnTo>
                <a:lnTo>
                  <a:pt x="2103120" y="30480"/>
                </a:lnTo>
                <a:lnTo>
                  <a:pt x="2156460" y="60960"/>
                </a:lnTo>
                <a:lnTo>
                  <a:pt x="2194560" y="91440"/>
                </a:lnTo>
                <a:lnTo>
                  <a:pt x="2263140" y="53340"/>
                </a:lnTo>
                <a:lnTo>
                  <a:pt x="2301240" y="53340"/>
                </a:lnTo>
                <a:lnTo>
                  <a:pt x="2354580" y="68580"/>
                </a:lnTo>
                <a:lnTo>
                  <a:pt x="2377440" y="76200"/>
                </a:lnTo>
                <a:lnTo>
                  <a:pt x="2377440" y="76200"/>
                </a:lnTo>
                <a:lnTo>
                  <a:pt x="2468880" y="99060"/>
                </a:lnTo>
                <a:lnTo>
                  <a:pt x="2514600" y="7620"/>
                </a:lnTo>
                <a:lnTo>
                  <a:pt x="2567940" y="53340"/>
                </a:lnTo>
                <a:lnTo>
                  <a:pt x="2659380" y="45720"/>
                </a:lnTo>
                <a:lnTo>
                  <a:pt x="2743200" y="60960"/>
                </a:lnTo>
                <a:lnTo>
                  <a:pt x="2834640" y="76200"/>
                </a:lnTo>
                <a:lnTo>
                  <a:pt x="2933700" y="38100"/>
                </a:lnTo>
                <a:lnTo>
                  <a:pt x="2987040" y="83820"/>
                </a:lnTo>
                <a:lnTo>
                  <a:pt x="3070860" y="15240"/>
                </a:lnTo>
                <a:lnTo>
                  <a:pt x="3116580" y="38100"/>
                </a:lnTo>
                <a:lnTo>
                  <a:pt x="3154680" y="15240"/>
                </a:lnTo>
                <a:lnTo>
                  <a:pt x="3223260" y="0"/>
                </a:lnTo>
                <a:lnTo>
                  <a:pt x="3299460" y="38100"/>
                </a:lnTo>
                <a:lnTo>
                  <a:pt x="3406140" y="38100"/>
                </a:lnTo>
                <a:lnTo>
                  <a:pt x="3436620" y="60960"/>
                </a:lnTo>
                <a:lnTo>
                  <a:pt x="3489960" y="68580"/>
                </a:lnTo>
                <a:lnTo>
                  <a:pt x="3528060" y="99060"/>
                </a:lnTo>
                <a:lnTo>
                  <a:pt x="3619500" y="91440"/>
                </a:lnTo>
                <a:lnTo>
                  <a:pt x="3764280" y="15240"/>
                </a:lnTo>
                <a:lnTo>
                  <a:pt x="3863340" y="91440"/>
                </a:lnTo>
                <a:lnTo>
                  <a:pt x="3970020" y="91440"/>
                </a:lnTo>
                <a:lnTo>
                  <a:pt x="4000500" y="144780"/>
                </a:lnTo>
                <a:lnTo>
                  <a:pt x="4000500" y="144780"/>
                </a:lnTo>
                <a:lnTo>
                  <a:pt x="4099560" y="91440"/>
                </a:lnTo>
                <a:lnTo>
                  <a:pt x="4175760" y="106680"/>
                </a:lnTo>
                <a:lnTo>
                  <a:pt x="4290060" y="144780"/>
                </a:lnTo>
                <a:lnTo>
                  <a:pt x="4351020" y="114300"/>
                </a:lnTo>
                <a:lnTo>
                  <a:pt x="4411980" y="144780"/>
                </a:lnTo>
                <a:lnTo>
                  <a:pt x="4511040" y="99060"/>
                </a:lnTo>
                <a:lnTo>
                  <a:pt x="4541520" y="137160"/>
                </a:lnTo>
                <a:lnTo>
                  <a:pt x="4572000" y="114300"/>
                </a:lnTo>
                <a:lnTo>
                  <a:pt x="4693920" y="144780"/>
                </a:lnTo>
                <a:lnTo>
                  <a:pt x="4785360" y="129540"/>
                </a:lnTo>
                <a:lnTo>
                  <a:pt x="4892040" y="175260"/>
                </a:lnTo>
                <a:lnTo>
                  <a:pt x="4922520" y="198120"/>
                </a:lnTo>
                <a:lnTo>
                  <a:pt x="4968240" y="190500"/>
                </a:lnTo>
                <a:lnTo>
                  <a:pt x="4998720" y="213360"/>
                </a:lnTo>
                <a:lnTo>
                  <a:pt x="5067300" y="144780"/>
                </a:lnTo>
                <a:lnTo>
                  <a:pt x="5135880" y="144780"/>
                </a:lnTo>
                <a:lnTo>
                  <a:pt x="5196840" y="175260"/>
                </a:lnTo>
                <a:lnTo>
                  <a:pt x="5250180" y="129540"/>
                </a:lnTo>
                <a:lnTo>
                  <a:pt x="5295900" y="83820"/>
                </a:lnTo>
                <a:lnTo>
                  <a:pt x="5387340" y="137160"/>
                </a:lnTo>
                <a:lnTo>
                  <a:pt x="5471160" y="175260"/>
                </a:lnTo>
                <a:lnTo>
                  <a:pt x="5516880" y="106680"/>
                </a:lnTo>
                <a:lnTo>
                  <a:pt x="5562600" y="129540"/>
                </a:lnTo>
                <a:lnTo>
                  <a:pt x="5615940" y="106680"/>
                </a:lnTo>
                <a:lnTo>
                  <a:pt x="5669280" y="152400"/>
                </a:lnTo>
                <a:lnTo>
                  <a:pt x="5737860" y="129540"/>
                </a:lnTo>
                <a:lnTo>
                  <a:pt x="5775960" y="160020"/>
                </a:lnTo>
                <a:lnTo>
                  <a:pt x="5844540" y="152400"/>
                </a:lnTo>
                <a:lnTo>
                  <a:pt x="5958840" y="190500"/>
                </a:lnTo>
                <a:lnTo>
                  <a:pt x="6012180" y="190500"/>
                </a:lnTo>
                <a:lnTo>
                  <a:pt x="6027420" y="152400"/>
                </a:lnTo>
                <a:lnTo>
                  <a:pt x="6073140" y="175260"/>
                </a:lnTo>
                <a:lnTo>
                  <a:pt x="6103620" y="167640"/>
                </a:lnTo>
                <a:lnTo>
                  <a:pt x="6141720" y="190500"/>
                </a:lnTo>
                <a:lnTo>
                  <a:pt x="6225540" y="198120"/>
                </a:lnTo>
                <a:lnTo>
                  <a:pt x="6309360" y="198120"/>
                </a:lnTo>
                <a:lnTo>
                  <a:pt x="6362700" y="160020"/>
                </a:lnTo>
                <a:lnTo>
                  <a:pt x="6416040" y="220980"/>
                </a:lnTo>
                <a:lnTo>
                  <a:pt x="6492240" y="220980"/>
                </a:lnTo>
                <a:lnTo>
                  <a:pt x="6545580" y="251460"/>
                </a:lnTo>
                <a:lnTo>
                  <a:pt x="6621780" y="190500"/>
                </a:lnTo>
                <a:lnTo>
                  <a:pt x="6675120" y="220980"/>
                </a:lnTo>
                <a:lnTo>
                  <a:pt x="6781800" y="182880"/>
                </a:lnTo>
                <a:lnTo>
                  <a:pt x="6835140" y="205740"/>
                </a:lnTo>
                <a:lnTo>
                  <a:pt x="6896100" y="160020"/>
                </a:lnTo>
                <a:lnTo>
                  <a:pt x="6957060" y="190500"/>
                </a:lnTo>
                <a:lnTo>
                  <a:pt x="7002780" y="160020"/>
                </a:lnTo>
                <a:lnTo>
                  <a:pt x="7056120" y="205740"/>
                </a:lnTo>
                <a:lnTo>
                  <a:pt x="7132320" y="167640"/>
                </a:lnTo>
                <a:lnTo>
                  <a:pt x="7185660" y="190500"/>
                </a:lnTo>
                <a:lnTo>
                  <a:pt x="7284720" y="152400"/>
                </a:lnTo>
                <a:lnTo>
                  <a:pt x="7368540" y="152400"/>
                </a:lnTo>
                <a:lnTo>
                  <a:pt x="7482840" y="182880"/>
                </a:lnTo>
                <a:lnTo>
                  <a:pt x="7513320" y="205740"/>
                </a:lnTo>
                <a:lnTo>
                  <a:pt x="7597140" y="205740"/>
                </a:lnTo>
                <a:lnTo>
                  <a:pt x="7726680" y="190500"/>
                </a:lnTo>
                <a:lnTo>
                  <a:pt x="7780020" y="144780"/>
                </a:lnTo>
                <a:lnTo>
                  <a:pt x="7848600" y="175260"/>
                </a:lnTo>
                <a:lnTo>
                  <a:pt x="7909560" y="144780"/>
                </a:lnTo>
                <a:lnTo>
                  <a:pt x="7985760" y="182880"/>
                </a:lnTo>
                <a:lnTo>
                  <a:pt x="8001000" y="129540"/>
                </a:lnTo>
                <a:lnTo>
                  <a:pt x="8092440" y="160020"/>
                </a:lnTo>
                <a:lnTo>
                  <a:pt x="8092440" y="160020"/>
                </a:lnTo>
                <a:lnTo>
                  <a:pt x="8145780" y="175260"/>
                </a:lnTo>
                <a:lnTo>
                  <a:pt x="8260080" y="144780"/>
                </a:lnTo>
                <a:lnTo>
                  <a:pt x="8351520" y="91440"/>
                </a:lnTo>
                <a:lnTo>
                  <a:pt x="8404860" y="152400"/>
                </a:lnTo>
                <a:lnTo>
                  <a:pt x="8404860" y="190500"/>
                </a:lnTo>
                <a:lnTo>
                  <a:pt x="8465820" y="144780"/>
                </a:lnTo>
                <a:lnTo>
                  <a:pt x="8511540" y="160020"/>
                </a:lnTo>
                <a:lnTo>
                  <a:pt x="8557260" y="289560"/>
                </a:lnTo>
                <a:lnTo>
                  <a:pt x="8633460" y="259080"/>
                </a:lnTo>
                <a:lnTo>
                  <a:pt x="8686800" y="160020"/>
                </a:lnTo>
                <a:lnTo>
                  <a:pt x="8724900" y="190500"/>
                </a:lnTo>
                <a:lnTo>
                  <a:pt x="8785860" y="220980"/>
                </a:lnTo>
                <a:lnTo>
                  <a:pt x="8816340" y="251460"/>
                </a:lnTo>
                <a:lnTo>
                  <a:pt x="8869680" y="220980"/>
                </a:lnTo>
              </a:path>
            </a:pathLst>
          </a:cu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B3319103-892B-458E-A173-7F9E7B08D8BB}"/>
              </a:ext>
            </a:extLst>
          </p:cNvPr>
          <p:cNvSpPr/>
          <p:nvPr/>
        </p:nvSpPr>
        <p:spPr>
          <a:xfrm>
            <a:off x="1905000" y="3535680"/>
            <a:ext cx="8846820" cy="845820"/>
          </a:xfrm>
          <a:custGeom>
            <a:avLst/>
            <a:gdLst>
              <a:gd name="connsiteX0" fmla="*/ 0 w 8846820"/>
              <a:gd name="connsiteY0" fmla="*/ 0 h 845820"/>
              <a:gd name="connsiteX1" fmla="*/ 45720 w 8846820"/>
              <a:gd name="connsiteY1" fmla="*/ 38100 h 845820"/>
              <a:gd name="connsiteX2" fmla="*/ 129540 w 8846820"/>
              <a:gd name="connsiteY2" fmla="*/ 114300 h 845820"/>
              <a:gd name="connsiteX3" fmla="*/ 167640 w 8846820"/>
              <a:gd name="connsiteY3" fmla="*/ 53340 h 845820"/>
              <a:gd name="connsiteX4" fmla="*/ 243840 w 8846820"/>
              <a:gd name="connsiteY4" fmla="*/ 91440 h 845820"/>
              <a:gd name="connsiteX5" fmla="*/ 243840 w 8846820"/>
              <a:gd name="connsiteY5" fmla="*/ 175260 h 845820"/>
              <a:gd name="connsiteX6" fmla="*/ 320040 w 8846820"/>
              <a:gd name="connsiteY6" fmla="*/ 99060 h 845820"/>
              <a:gd name="connsiteX7" fmla="*/ 373380 w 8846820"/>
              <a:gd name="connsiteY7" fmla="*/ 91440 h 845820"/>
              <a:gd name="connsiteX8" fmla="*/ 441960 w 8846820"/>
              <a:gd name="connsiteY8" fmla="*/ 182880 h 845820"/>
              <a:gd name="connsiteX9" fmla="*/ 502920 w 8846820"/>
              <a:gd name="connsiteY9" fmla="*/ 137160 h 845820"/>
              <a:gd name="connsiteX10" fmla="*/ 563880 w 8846820"/>
              <a:gd name="connsiteY10" fmla="*/ 175260 h 845820"/>
              <a:gd name="connsiteX11" fmla="*/ 640080 w 8846820"/>
              <a:gd name="connsiteY11" fmla="*/ 167640 h 845820"/>
              <a:gd name="connsiteX12" fmla="*/ 678180 w 8846820"/>
              <a:gd name="connsiteY12" fmla="*/ 167640 h 845820"/>
              <a:gd name="connsiteX13" fmla="*/ 746760 w 8846820"/>
              <a:gd name="connsiteY13" fmla="*/ 144780 h 845820"/>
              <a:gd name="connsiteX14" fmla="*/ 838200 w 8846820"/>
              <a:gd name="connsiteY14" fmla="*/ 228600 h 845820"/>
              <a:gd name="connsiteX15" fmla="*/ 891540 w 8846820"/>
              <a:gd name="connsiteY15" fmla="*/ 251460 h 845820"/>
              <a:gd name="connsiteX16" fmla="*/ 944880 w 8846820"/>
              <a:gd name="connsiteY16" fmla="*/ 289560 h 845820"/>
              <a:gd name="connsiteX17" fmla="*/ 1059180 w 8846820"/>
              <a:gd name="connsiteY17" fmla="*/ 266700 h 845820"/>
              <a:gd name="connsiteX18" fmla="*/ 1120140 w 8846820"/>
              <a:gd name="connsiteY18" fmla="*/ 342900 h 845820"/>
              <a:gd name="connsiteX19" fmla="*/ 1196340 w 8846820"/>
              <a:gd name="connsiteY19" fmla="*/ 297180 h 845820"/>
              <a:gd name="connsiteX20" fmla="*/ 1264920 w 8846820"/>
              <a:gd name="connsiteY20" fmla="*/ 327660 h 845820"/>
              <a:gd name="connsiteX21" fmla="*/ 1295400 w 8846820"/>
              <a:gd name="connsiteY21" fmla="*/ 365760 h 845820"/>
              <a:gd name="connsiteX22" fmla="*/ 1310640 w 8846820"/>
              <a:gd name="connsiteY22" fmla="*/ 289560 h 845820"/>
              <a:gd name="connsiteX23" fmla="*/ 1379220 w 8846820"/>
              <a:gd name="connsiteY23" fmla="*/ 396240 h 845820"/>
              <a:gd name="connsiteX24" fmla="*/ 1463040 w 8846820"/>
              <a:gd name="connsiteY24" fmla="*/ 304800 h 845820"/>
              <a:gd name="connsiteX25" fmla="*/ 1501140 w 8846820"/>
              <a:gd name="connsiteY25" fmla="*/ 350520 h 845820"/>
              <a:gd name="connsiteX26" fmla="*/ 1539240 w 8846820"/>
              <a:gd name="connsiteY26" fmla="*/ 289560 h 845820"/>
              <a:gd name="connsiteX27" fmla="*/ 1592580 w 8846820"/>
              <a:gd name="connsiteY27" fmla="*/ 342900 h 845820"/>
              <a:gd name="connsiteX28" fmla="*/ 1676400 w 8846820"/>
              <a:gd name="connsiteY28" fmla="*/ 312420 h 845820"/>
              <a:gd name="connsiteX29" fmla="*/ 1729740 w 8846820"/>
              <a:gd name="connsiteY29" fmla="*/ 312420 h 845820"/>
              <a:gd name="connsiteX30" fmla="*/ 1767840 w 8846820"/>
              <a:gd name="connsiteY30" fmla="*/ 365760 h 845820"/>
              <a:gd name="connsiteX31" fmla="*/ 1851660 w 8846820"/>
              <a:gd name="connsiteY31" fmla="*/ 320040 h 845820"/>
              <a:gd name="connsiteX32" fmla="*/ 1927860 w 8846820"/>
              <a:gd name="connsiteY32" fmla="*/ 320040 h 845820"/>
              <a:gd name="connsiteX33" fmla="*/ 1981200 w 8846820"/>
              <a:gd name="connsiteY33" fmla="*/ 342900 h 845820"/>
              <a:gd name="connsiteX34" fmla="*/ 2034540 w 8846820"/>
              <a:gd name="connsiteY34" fmla="*/ 320040 h 845820"/>
              <a:gd name="connsiteX35" fmla="*/ 2118360 w 8846820"/>
              <a:gd name="connsiteY35" fmla="*/ 342900 h 845820"/>
              <a:gd name="connsiteX36" fmla="*/ 2141220 w 8846820"/>
              <a:gd name="connsiteY36" fmla="*/ 312420 h 845820"/>
              <a:gd name="connsiteX37" fmla="*/ 2171700 w 8846820"/>
              <a:gd name="connsiteY37" fmla="*/ 342900 h 845820"/>
              <a:gd name="connsiteX38" fmla="*/ 2286000 w 8846820"/>
              <a:gd name="connsiteY38" fmla="*/ 312420 h 845820"/>
              <a:gd name="connsiteX39" fmla="*/ 2301240 w 8846820"/>
              <a:gd name="connsiteY39" fmla="*/ 335280 h 845820"/>
              <a:gd name="connsiteX40" fmla="*/ 2354580 w 8846820"/>
              <a:gd name="connsiteY40" fmla="*/ 342900 h 845820"/>
              <a:gd name="connsiteX41" fmla="*/ 2369820 w 8846820"/>
              <a:gd name="connsiteY41" fmla="*/ 289560 h 845820"/>
              <a:gd name="connsiteX42" fmla="*/ 2491740 w 8846820"/>
              <a:gd name="connsiteY42" fmla="*/ 373380 h 845820"/>
              <a:gd name="connsiteX43" fmla="*/ 2583180 w 8846820"/>
              <a:gd name="connsiteY43" fmla="*/ 342900 h 845820"/>
              <a:gd name="connsiteX44" fmla="*/ 2735580 w 8846820"/>
              <a:gd name="connsiteY44" fmla="*/ 396240 h 845820"/>
              <a:gd name="connsiteX45" fmla="*/ 2811780 w 8846820"/>
              <a:gd name="connsiteY45" fmla="*/ 457200 h 845820"/>
              <a:gd name="connsiteX46" fmla="*/ 2849880 w 8846820"/>
              <a:gd name="connsiteY46" fmla="*/ 411480 h 845820"/>
              <a:gd name="connsiteX47" fmla="*/ 2895600 w 8846820"/>
              <a:gd name="connsiteY47" fmla="*/ 518160 h 845820"/>
              <a:gd name="connsiteX48" fmla="*/ 2948940 w 8846820"/>
              <a:gd name="connsiteY48" fmla="*/ 449580 h 845820"/>
              <a:gd name="connsiteX49" fmla="*/ 2994660 w 8846820"/>
              <a:gd name="connsiteY49" fmla="*/ 441960 h 845820"/>
              <a:gd name="connsiteX50" fmla="*/ 3063240 w 8846820"/>
              <a:gd name="connsiteY50" fmla="*/ 434340 h 845820"/>
              <a:gd name="connsiteX51" fmla="*/ 3131820 w 8846820"/>
              <a:gd name="connsiteY51" fmla="*/ 480060 h 845820"/>
              <a:gd name="connsiteX52" fmla="*/ 3223260 w 8846820"/>
              <a:gd name="connsiteY52" fmla="*/ 396240 h 845820"/>
              <a:gd name="connsiteX53" fmla="*/ 3314700 w 8846820"/>
              <a:gd name="connsiteY53" fmla="*/ 464820 h 845820"/>
              <a:gd name="connsiteX54" fmla="*/ 3421380 w 8846820"/>
              <a:gd name="connsiteY54" fmla="*/ 502920 h 845820"/>
              <a:gd name="connsiteX55" fmla="*/ 3444240 w 8846820"/>
              <a:gd name="connsiteY55" fmla="*/ 541020 h 845820"/>
              <a:gd name="connsiteX56" fmla="*/ 3558540 w 8846820"/>
              <a:gd name="connsiteY56" fmla="*/ 525780 h 845820"/>
              <a:gd name="connsiteX57" fmla="*/ 3657600 w 8846820"/>
              <a:gd name="connsiteY57" fmla="*/ 579120 h 845820"/>
              <a:gd name="connsiteX58" fmla="*/ 3733800 w 8846820"/>
              <a:gd name="connsiteY58" fmla="*/ 548640 h 845820"/>
              <a:gd name="connsiteX59" fmla="*/ 3870960 w 8846820"/>
              <a:gd name="connsiteY59" fmla="*/ 670560 h 845820"/>
              <a:gd name="connsiteX60" fmla="*/ 3947160 w 8846820"/>
              <a:gd name="connsiteY60" fmla="*/ 662940 h 845820"/>
              <a:gd name="connsiteX61" fmla="*/ 3992880 w 8846820"/>
              <a:gd name="connsiteY61" fmla="*/ 708660 h 845820"/>
              <a:gd name="connsiteX62" fmla="*/ 4084320 w 8846820"/>
              <a:gd name="connsiteY62" fmla="*/ 662940 h 845820"/>
              <a:gd name="connsiteX63" fmla="*/ 4145280 w 8846820"/>
              <a:gd name="connsiteY63" fmla="*/ 708660 h 845820"/>
              <a:gd name="connsiteX64" fmla="*/ 4168140 w 8846820"/>
              <a:gd name="connsiteY64" fmla="*/ 754380 h 845820"/>
              <a:gd name="connsiteX65" fmla="*/ 4229100 w 8846820"/>
              <a:gd name="connsiteY65" fmla="*/ 708660 h 845820"/>
              <a:gd name="connsiteX66" fmla="*/ 4236720 w 8846820"/>
              <a:gd name="connsiteY66" fmla="*/ 731520 h 845820"/>
              <a:gd name="connsiteX67" fmla="*/ 4305300 w 8846820"/>
              <a:gd name="connsiteY67" fmla="*/ 701040 h 845820"/>
              <a:gd name="connsiteX68" fmla="*/ 4366260 w 8846820"/>
              <a:gd name="connsiteY68" fmla="*/ 739140 h 845820"/>
              <a:gd name="connsiteX69" fmla="*/ 4434840 w 8846820"/>
              <a:gd name="connsiteY69" fmla="*/ 708660 h 845820"/>
              <a:gd name="connsiteX70" fmla="*/ 4450080 w 8846820"/>
              <a:gd name="connsiteY70" fmla="*/ 762000 h 845820"/>
              <a:gd name="connsiteX71" fmla="*/ 4488180 w 8846820"/>
              <a:gd name="connsiteY71" fmla="*/ 746760 h 845820"/>
              <a:gd name="connsiteX72" fmla="*/ 4556760 w 8846820"/>
              <a:gd name="connsiteY72" fmla="*/ 769620 h 845820"/>
              <a:gd name="connsiteX73" fmla="*/ 4602480 w 8846820"/>
              <a:gd name="connsiteY73" fmla="*/ 777240 h 845820"/>
              <a:gd name="connsiteX74" fmla="*/ 4686300 w 8846820"/>
              <a:gd name="connsiteY74" fmla="*/ 716280 h 845820"/>
              <a:gd name="connsiteX75" fmla="*/ 4747260 w 8846820"/>
              <a:gd name="connsiteY75" fmla="*/ 708660 h 845820"/>
              <a:gd name="connsiteX76" fmla="*/ 4808220 w 8846820"/>
              <a:gd name="connsiteY76" fmla="*/ 746760 h 845820"/>
              <a:gd name="connsiteX77" fmla="*/ 4831080 w 8846820"/>
              <a:gd name="connsiteY77" fmla="*/ 769620 h 845820"/>
              <a:gd name="connsiteX78" fmla="*/ 5074920 w 8846820"/>
              <a:gd name="connsiteY78" fmla="*/ 685800 h 845820"/>
              <a:gd name="connsiteX79" fmla="*/ 5158740 w 8846820"/>
              <a:gd name="connsiteY79" fmla="*/ 739140 h 845820"/>
              <a:gd name="connsiteX80" fmla="*/ 5227320 w 8846820"/>
              <a:gd name="connsiteY80" fmla="*/ 708660 h 845820"/>
              <a:gd name="connsiteX81" fmla="*/ 5265420 w 8846820"/>
              <a:gd name="connsiteY81" fmla="*/ 754380 h 845820"/>
              <a:gd name="connsiteX82" fmla="*/ 5303520 w 8846820"/>
              <a:gd name="connsiteY82" fmla="*/ 693420 h 845820"/>
              <a:gd name="connsiteX83" fmla="*/ 5372100 w 8846820"/>
              <a:gd name="connsiteY83" fmla="*/ 739140 h 845820"/>
              <a:gd name="connsiteX84" fmla="*/ 5433060 w 8846820"/>
              <a:gd name="connsiteY84" fmla="*/ 716280 h 845820"/>
              <a:gd name="connsiteX85" fmla="*/ 5509260 w 8846820"/>
              <a:gd name="connsiteY85" fmla="*/ 708660 h 845820"/>
              <a:gd name="connsiteX86" fmla="*/ 5532120 w 8846820"/>
              <a:gd name="connsiteY86" fmla="*/ 693420 h 845820"/>
              <a:gd name="connsiteX87" fmla="*/ 5608320 w 8846820"/>
              <a:gd name="connsiteY87" fmla="*/ 716280 h 845820"/>
              <a:gd name="connsiteX88" fmla="*/ 5676900 w 8846820"/>
              <a:gd name="connsiteY88" fmla="*/ 746760 h 845820"/>
              <a:gd name="connsiteX89" fmla="*/ 5768340 w 8846820"/>
              <a:gd name="connsiteY89" fmla="*/ 807720 h 845820"/>
              <a:gd name="connsiteX90" fmla="*/ 5829300 w 8846820"/>
              <a:gd name="connsiteY90" fmla="*/ 731520 h 845820"/>
              <a:gd name="connsiteX91" fmla="*/ 5852160 w 8846820"/>
              <a:gd name="connsiteY91" fmla="*/ 777240 h 845820"/>
              <a:gd name="connsiteX92" fmla="*/ 5928360 w 8846820"/>
              <a:gd name="connsiteY92" fmla="*/ 754380 h 845820"/>
              <a:gd name="connsiteX93" fmla="*/ 5989320 w 8846820"/>
              <a:gd name="connsiteY93" fmla="*/ 746760 h 845820"/>
              <a:gd name="connsiteX94" fmla="*/ 6035040 w 8846820"/>
              <a:gd name="connsiteY94" fmla="*/ 754380 h 845820"/>
              <a:gd name="connsiteX95" fmla="*/ 6103620 w 8846820"/>
              <a:gd name="connsiteY95" fmla="*/ 655320 h 845820"/>
              <a:gd name="connsiteX96" fmla="*/ 6141720 w 8846820"/>
              <a:gd name="connsiteY96" fmla="*/ 708660 h 845820"/>
              <a:gd name="connsiteX97" fmla="*/ 6195060 w 8846820"/>
              <a:gd name="connsiteY97" fmla="*/ 708660 h 845820"/>
              <a:gd name="connsiteX98" fmla="*/ 6256020 w 8846820"/>
              <a:gd name="connsiteY98" fmla="*/ 708660 h 845820"/>
              <a:gd name="connsiteX99" fmla="*/ 6355080 w 8846820"/>
              <a:gd name="connsiteY99" fmla="*/ 708660 h 845820"/>
              <a:gd name="connsiteX100" fmla="*/ 6393180 w 8846820"/>
              <a:gd name="connsiteY100" fmla="*/ 762000 h 845820"/>
              <a:gd name="connsiteX101" fmla="*/ 6499860 w 8846820"/>
              <a:gd name="connsiteY101" fmla="*/ 754380 h 845820"/>
              <a:gd name="connsiteX102" fmla="*/ 6576060 w 8846820"/>
              <a:gd name="connsiteY102" fmla="*/ 723900 h 845820"/>
              <a:gd name="connsiteX103" fmla="*/ 6606540 w 8846820"/>
              <a:gd name="connsiteY103" fmla="*/ 701040 h 845820"/>
              <a:gd name="connsiteX104" fmla="*/ 6682740 w 8846820"/>
              <a:gd name="connsiteY104" fmla="*/ 701040 h 845820"/>
              <a:gd name="connsiteX105" fmla="*/ 6774180 w 8846820"/>
              <a:gd name="connsiteY105" fmla="*/ 685800 h 845820"/>
              <a:gd name="connsiteX106" fmla="*/ 6804660 w 8846820"/>
              <a:gd name="connsiteY106" fmla="*/ 731520 h 845820"/>
              <a:gd name="connsiteX107" fmla="*/ 6896100 w 8846820"/>
              <a:gd name="connsiteY107" fmla="*/ 640080 h 845820"/>
              <a:gd name="connsiteX108" fmla="*/ 6949440 w 8846820"/>
              <a:gd name="connsiteY108" fmla="*/ 708660 h 845820"/>
              <a:gd name="connsiteX109" fmla="*/ 7078980 w 8846820"/>
              <a:gd name="connsiteY109" fmla="*/ 678180 h 845820"/>
              <a:gd name="connsiteX110" fmla="*/ 7147560 w 8846820"/>
              <a:gd name="connsiteY110" fmla="*/ 693420 h 845820"/>
              <a:gd name="connsiteX111" fmla="*/ 7200900 w 8846820"/>
              <a:gd name="connsiteY111" fmla="*/ 647700 h 845820"/>
              <a:gd name="connsiteX112" fmla="*/ 7231380 w 8846820"/>
              <a:gd name="connsiteY112" fmla="*/ 701040 h 845820"/>
              <a:gd name="connsiteX113" fmla="*/ 7307580 w 8846820"/>
              <a:gd name="connsiteY113" fmla="*/ 662940 h 845820"/>
              <a:gd name="connsiteX114" fmla="*/ 7353300 w 8846820"/>
              <a:gd name="connsiteY114" fmla="*/ 701040 h 845820"/>
              <a:gd name="connsiteX115" fmla="*/ 7391400 w 8846820"/>
              <a:gd name="connsiteY115" fmla="*/ 685800 h 845820"/>
              <a:gd name="connsiteX116" fmla="*/ 7429500 w 8846820"/>
              <a:gd name="connsiteY116" fmla="*/ 723900 h 845820"/>
              <a:gd name="connsiteX117" fmla="*/ 7490460 w 8846820"/>
              <a:gd name="connsiteY117" fmla="*/ 723900 h 845820"/>
              <a:gd name="connsiteX118" fmla="*/ 7543800 w 8846820"/>
              <a:gd name="connsiteY118" fmla="*/ 670560 h 845820"/>
              <a:gd name="connsiteX119" fmla="*/ 7680960 w 8846820"/>
              <a:gd name="connsiteY119" fmla="*/ 701040 h 845820"/>
              <a:gd name="connsiteX120" fmla="*/ 7764780 w 8846820"/>
              <a:gd name="connsiteY120" fmla="*/ 693420 h 845820"/>
              <a:gd name="connsiteX121" fmla="*/ 7818120 w 8846820"/>
              <a:gd name="connsiteY121" fmla="*/ 777240 h 845820"/>
              <a:gd name="connsiteX122" fmla="*/ 7871460 w 8846820"/>
              <a:gd name="connsiteY122" fmla="*/ 693420 h 845820"/>
              <a:gd name="connsiteX123" fmla="*/ 7917180 w 8846820"/>
              <a:gd name="connsiteY123" fmla="*/ 693420 h 845820"/>
              <a:gd name="connsiteX124" fmla="*/ 7978140 w 8846820"/>
              <a:gd name="connsiteY124" fmla="*/ 723900 h 845820"/>
              <a:gd name="connsiteX125" fmla="*/ 8031480 w 8846820"/>
              <a:gd name="connsiteY125" fmla="*/ 685800 h 845820"/>
              <a:gd name="connsiteX126" fmla="*/ 8084820 w 8846820"/>
              <a:gd name="connsiteY126" fmla="*/ 731520 h 845820"/>
              <a:gd name="connsiteX127" fmla="*/ 8199120 w 8846820"/>
              <a:gd name="connsiteY127" fmla="*/ 632460 h 845820"/>
              <a:gd name="connsiteX128" fmla="*/ 8244840 w 8846820"/>
              <a:gd name="connsiteY128" fmla="*/ 685800 h 845820"/>
              <a:gd name="connsiteX129" fmla="*/ 8351520 w 8846820"/>
              <a:gd name="connsiteY129" fmla="*/ 655320 h 845820"/>
              <a:gd name="connsiteX130" fmla="*/ 8420100 w 8846820"/>
              <a:gd name="connsiteY130" fmla="*/ 647700 h 845820"/>
              <a:gd name="connsiteX131" fmla="*/ 8496300 w 8846820"/>
              <a:gd name="connsiteY131" fmla="*/ 678180 h 845820"/>
              <a:gd name="connsiteX132" fmla="*/ 8519160 w 8846820"/>
              <a:gd name="connsiteY132" fmla="*/ 845820 h 845820"/>
              <a:gd name="connsiteX133" fmla="*/ 8587740 w 8846820"/>
              <a:gd name="connsiteY133" fmla="*/ 739140 h 845820"/>
              <a:gd name="connsiteX134" fmla="*/ 8633460 w 8846820"/>
              <a:gd name="connsiteY134" fmla="*/ 784860 h 845820"/>
              <a:gd name="connsiteX135" fmla="*/ 8724900 w 8846820"/>
              <a:gd name="connsiteY135" fmla="*/ 685800 h 845820"/>
              <a:gd name="connsiteX136" fmla="*/ 8801100 w 8846820"/>
              <a:gd name="connsiteY136" fmla="*/ 655320 h 845820"/>
              <a:gd name="connsiteX137" fmla="*/ 8846820 w 8846820"/>
              <a:gd name="connsiteY137" fmla="*/ 662940 h 845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8846820" h="845820">
                <a:moveTo>
                  <a:pt x="0" y="0"/>
                </a:moveTo>
                <a:lnTo>
                  <a:pt x="45720" y="38100"/>
                </a:lnTo>
                <a:lnTo>
                  <a:pt x="129540" y="114300"/>
                </a:lnTo>
                <a:lnTo>
                  <a:pt x="167640" y="53340"/>
                </a:lnTo>
                <a:lnTo>
                  <a:pt x="243840" y="91440"/>
                </a:lnTo>
                <a:lnTo>
                  <a:pt x="243840" y="175260"/>
                </a:lnTo>
                <a:lnTo>
                  <a:pt x="320040" y="99060"/>
                </a:lnTo>
                <a:lnTo>
                  <a:pt x="373380" y="91440"/>
                </a:lnTo>
                <a:lnTo>
                  <a:pt x="441960" y="182880"/>
                </a:lnTo>
                <a:lnTo>
                  <a:pt x="502920" y="137160"/>
                </a:lnTo>
                <a:lnTo>
                  <a:pt x="563880" y="175260"/>
                </a:lnTo>
                <a:lnTo>
                  <a:pt x="640080" y="167640"/>
                </a:lnTo>
                <a:lnTo>
                  <a:pt x="678180" y="167640"/>
                </a:lnTo>
                <a:lnTo>
                  <a:pt x="746760" y="144780"/>
                </a:lnTo>
                <a:lnTo>
                  <a:pt x="838200" y="228600"/>
                </a:lnTo>
                <a:lnTo>
                  <a:pt x="891540" y="251460"/>
                </a:lnTo>
                <a:lnTo>
                  <a:pt x="944880" y="289560"/>
                </a:lnTo>
                <a:lnTo>
                  <a:pt x="1059180" y="266700"/>
                </a:lnTo>
                <a:lnTo>
                  <a:pt x="1120140" y="342900"/>
                </a:lnTo>
                <a:lnTo>
                  <a:pt x="1196340" y="297180"/>
                </a:lnTo>
                <a:lnTo>
                  <a:pt x="1264920" y="327660"/>
                </a:lnTo>
                <a:lnTo>
                  <a:pt x="1295400" y="365760"/>
                </a:lnTo>
                <a:lnTo>
                  <a:pt x="1310640" y="289560"/>
                </a:lnTo>
                <a:lnTo>
                  <a:pt x="1379220" y="396240"/>
                </a:lnTo>
                <a:lnTo>
                  <a:pt x="1463040" y="304800"/>
                </a:lnTo>
                <a:lnTo>
                  <a:pt x="1501140" y="350520"/>
                </a:lnTo>
                <a:lnTo>
                  <a:pt x="1539240" y="289560"/>
                </a:lnTo>
                <a:lnTo>
                  <a:pt x="1592580" y="342900"/>
                </a:lnTo>
                <a:lnTo>
                  <a:pt x="1676400" y="312420"/>
                </a:lnTo>
                <a:lnTo>
                  <a:pt x="1729740" y="312420"/>
                </a:lnTo>
                <a:lnTo>
                  <a:pt x="1767840" y="365760"/>
                </a:lnTo>
                <a:lnTo>
                  <a:pt x="1851660" y="320040"/>
                </a:lnTo>
                <a:lnTo>
                  <a:pt x="1927860" y="320040"/>
                </a:lnTo>
                <a:lnTo>
                  <a:pt x="1981200" y="342900"/>
                </a:lnTo>
                <a:lnTo>
                  <a:pt x="2034540" y="320040"/>
                </a:lnTo>
                <a:lnTo>
                  <a:pt x="2118360" y="342900"/>
                </a:lnTo>
                <a:lnTo>
                  <a:pt x="2141220" y="312420"/>
                </a:lnTo>
                <a:lnTo>
                  <a:pt x="2171700" y="342900"/>
                </a:lnTo>
                <a:lnTo>
                  <a:pt x="2286000" y="312420"/>
                </a:lnTo>
                <a:lnTo>
                  <a:pt x="2301240" y="335280"/>
                </a:lnTo>
                <a:lnTo>
                  <a:pt x="2354580" y="342900"/>
                </a:lnTo>
                <a:lnTo>
                  <a:pt x="2369820" y="289560"/>
                </a:lnTo>
                <a:lnTo>
                  <a:pt x="2491740" y="373380"/>
                </a:lnTo>
                <a:lnTo>
                  <a:pt x="2583180" y="342900"/>
                </a:lnTo>
                <a:lnTo>
                  <a:pt x="2735580" y="396240"/>
                </a:lnTo>
                <a:lnTo>
                  <a:pt x="2811780" y="457200"/>
                </a:lnTo>
                <a:lnTo>
                  <a:pt x="2849880" y="411480"/>
                </a:lnTo>
                <a:lnTo>
                  <a:pt x="2895600" y="518160"/>
                </a:lnTo>
                <a:lnTo>
                  <a:pt x="2948940" y="449580"/>
                </a:lnTo>
                <a:lnTo>
                  <a:pt x="2994660" y="441960"/>
                </a:lnTo>
                <a:lnTo>
                  <a:pt x="3063240" y="434340"/>
                </a:lnTo>
                <a:lnTo>
                  <a:pt x="3131820" y="480060"/>
                </a:lnTo>
                <a:lnTo>
                  <a:pt x="3223260" y="396240"/>
                </a:lnTo>
                <a:lnTo>
                  <a:pt x="3314700" y="464820"/>
                </a:lnTo>
                <a:lnTo>
                  <a:pt x="3421380" y="502920"/>
                </a:lnTo>
                <a:lnTo>
                  <a:pt x="3444240" y="541020"/>
                </a:lnTo>
                <a:lnTo>
                  <a:pt x="3558540" y="525780"/>
                </a:lnTo>
                <a:lnTo>
                  <a:pt x="3657600" y="579120"/>
                </a:lnTo>
                <a:lnTo>
                  <a:pt x="3733800" y="548640"/>
                </a:lnTo>
                <a:lnTo>
                  <a:pt x="3870960" y="670560"/>
                </a:lnTo>
                <a:lnTo>
                  <a:pt x="3947160" y="662940"/>
                </a:lnTo>
                <a:lnTo>
                  <a:pt x="3992880" y="708660"/>
                </a:lnTo>
                <a:lnTo>
                  <a:pt x="4084320" y="662940"/>
                </a:lnTo>
                <a:lnTo>
                  <a:pt x="4145280" y="708660"/>
                </a:lnTo>
                <a:lnTo>
                  <a:pt x="4168140" y="754380"/>
                </a:lnTo>
                <a:lnTo>
                  <a:pt x="4229100" y="708660"/>
                </a:lnTo>
                <a:lnTo>
                  <a:pt x="4236720" y="731520"/>
                </a:lnTo>
                <a:lnTo>
                  <a:pt x="4305300" y="701040"/>
                </a:lnTo>
                <a:lnTo>
                  <a:pt x="4366260" y="739140"/>
                </a:lnTo>
                <a:lnTo>
                  <a:pt x="4434840" y="708660"/>
                </a:lnTo>
                <a:lnTo>
                  <a:pt x="4450080" y="762000"/>
                </a:lnTo>
                <a:lnTo>
                  <a:pt x="4488180" y="746760"/>
                </a:lnTo>
                <a:lnTo>
                  <a:pt x="4556760" y="769620"/>
                </a:lnTo>
                <a:lnTo>
                  <a:pt x="4602480" y="777240"/>
                </a:lnTo>
                <a:lnTo>
                  <a:pt x="4686300" y="716280"/>
                </a:lnTo>
                <a:lnTo>
                  <a:pt x="4747260" y="708660"/>
                </a:lnTo>
                <a:lnTo>
                  <a:pt x="4808220" y="746760"/>
                </a:lnTo>
                <a:lnTo>
                  <a:pt x="4831080" y="769620"/>
                </a:lnTo>
                <a:lnTo>
                  <a:pt x="5074920" y="685800"/>
                </a:lnTo>
                <a:lnTo>
                  <a:pt x="5158740" y="739140"/>
                </a:lnTo>
                <a:lnTo>
                  <a:pt x="5227320" y="708660"/>
                </a:lnTo>
                <a:lnTo>
                  <a:pt x="5265420" y="754380"/>
                </a:lnTo>
                <a:lnTo>
                  <a:pt x="5303520" y="693420"/>
                </a:lnTo>
                <a:lnTo>
                  <a:pt x="5372100" y="739140"/>
                </a:lnTo>
                <a:lnTo>
                  <a:pt x="5433060" y="716280"/>
                </a:lnTo>
                <a:lnTo>
                  <a:pt x="5509260" y="708660"/>
                </a:lnTo>
                <a:lnTo>
                  <a:pt x="5532120" y="693420"/>
                </a:lnTo>
                <a:lnTo>
                  <a:pt x="5608320" y="716280"/>
                </a:lnTo>
                <a:lnTo>
                  <a:pt x="5676900" y="746760"/>
                </a:lnTo>
                <a:lnTo>
                  <a:pt x="5768340" y="807720"/>
                </a:lnTo>
                <a:lnTo>
                  <a:pt x="5829300" y="731520"/>
                </a:lnTo>
                <a:lnTo>
                  <a:pt x="5852160" y="777240"/>
                </a:lnTo>
                <a:lnTo>
                  <a:pt x="5928360" y="754380"/>
                </a:lnTo>
                <a:lnTo>
                  <a:pt x="5989320" y="746760"/>
                </a:lnTo>
                <a:lnTo>
                  <a:pt x="6035040" y="754380"/>
                </a:lnTo>
                <a:lnTo>
                  <a:pt x="6103620" y="655320"/>
                </a:lnTo>
                <a:lnTo>
                  <a:pt x="6141720" y="708660"/>
                </a:lnTo>
                <a:lnTo>
                  <a:pt x="6195060" y="708660"/>
                </a:lnTo>
                <a:lnTo>
                  <a:pt x="6256020" y="708660"/>
                </a:lnTo>
                <a:lnTo>
                  <a:pt x="6355080" y="708660"/>
                </a:lnTo>
                <a:lnTo>
                  <a:pt x="6393180" y="762000"/>
                </a:lnTo>
                <a:lnTo>
                  <a:pt x="6499860" y="754380"/>
                </a:lnTo>
                <a:lnTo>
                  <a:pt x="6576060" y="723900"/>
                </a:lnTo>
                <a:lnTo>
                  <a:pt x="6606540" y="701040"/>
                </a:lnTo>
                <a:lnTo>
                  <a:pt x="6682740" y="701040"/>
                </a:lnTo>
                <a:lnTo>
                  <a:pt x="6774180" y="685800"/>
                </a:lnTo>
                <a:lnTo>
                  <a:pt x="6804660" y="731520"/>
                </a:lnTo>
                <a:lnTo>
                  <a:pt x="6896100" y="640080"/>
                </a:lnTo>
                <a:lnTo>
                  <a:pt x="6949440" y="708660"/>
                </a:lnTo>
                <a:lnTo>
                  <a:pt x="7078980" y="678180"/>
                </a:lnTo>
                <a:lnTo>
                  <a:pt x="7147560" y="693420"/>
                </a:lnTo>
                <a:lnTo>
                  <a:pt x="7200900" y="647700"/>
                </a:lnTo>
                <a:lnTo>
                  <a:pt x="7231380" y="701040"/>
                </a:lnTo>
                <a:lnTo>
                  <a:pt x="7307580" y="662940"/>
                </a:lnTo>
                <a:lnTo>
                  <a:pt x="7353300" y="701040"/>
                </a:lnTo>
                <a:lnTo>
                  <a:pt x="7391400" y="685800"/>
                </a:lnTo>
                <a:lnTo>
                  <a:pt x="7429500" y="723900"/>
                </a:lnTo>
                <a:lnTo>
                  <a:pt x="7490460" y="723900"/>
                </a:lnTo>
                <a:lnTo>
                  <a:pt x="7543800" y="670560"/>
                </a:lnTo>
                <a:lnTo>
                  <a:pt x="7680960" y="701040"/>
                </a:lnTo>
                <a:lnTo>
                  <a:pt x="7764780" y="693420"/>
                </a:lnTo>
                <a:lnTo>
                  <a:pt x="7818120" y="777240"/>
                </a:lnTo>
                <a:lnTo>
                  <a:pt x="7871460" y="693420"/>
                </a:lnTo>
                <a:lnTo>
                  <a:pt x="7917180" y="693420"/>
                </a:lnTo>
                <a:lnTo>
                  <a:pt x="7978140" y="723900"/>
                </a:lnTo>
                <a:lnTo>
                  <a:pt x="8031480" y="685800"/>
                </a:lnTo>
                <a:lnTo>
                  <a:pt x="8084820" y="731520"/>
                </a:lnTo>
                <a:lnTo>
                  <a:pt x="8199120" y="632460"/>
                </a:lnTo>
                <a:lnTo>
                  <a:pt x="8244840" y="685800"/>
                </a:lnTo>
                <a:lnTo>
                  <a:pt x="8351520" y="655320"/>
                </a:lnTo>
                <a:lnTo>
                  <a:pt x="8420100" y="647700"/>
                </a:lnTo>
                <a:lnTo>
                  <a:pt x="8496300" y="678180"/>
                </a:lnTo>
                <a:lnTo>
                  <a:pt x="8519160" y="845820"/>
                </a:lnTo>
                <a:lnTo>
                  <a:pt x="8587740" y="739140"/>
                </a:lnTo>
                <a:lnTo>
                  <a:pt x="8633460" y="784860"/>
                </a:lnTo>
                <a:lnTo>
                  <a:pt x="8724900" y="685800"/>
                </a:lnTo>
                <a:lnTo>
                  <a:pt x="8801100" y="655320"/>
                </a:lnTo>
                <a:lnTo>
                  <a:pt x="8846820" y="662940"/>
                </a:lnTo>
              </a:path>
            </a:pathLst>
          </a:cu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5FED91BE-C4AE-4D3A-939F-1EC02001D8D5}"/>
              </a:ext>
            </a:extLst>
          </p:cNvPr>
          <p:cNvSpPr/>
          <p:nvPr/>
        </p:nvSpPr>
        <p:spPr>
          <a:xfrm>
            <a:off x="1912620" y="3131820"/>
            <a:ext cx="8846820" cy="198120"/>
          </a:xfrm>
          <a:custGeom>
            <a:avLst/>
            <a:gdLst>
              <a:gd name="connsiteX0" fmla="*/ 0 w 8846820"/>
              <a:gd name="connsiteY0" fmla="*/ 22860 h 198120"/>
              <a:gd name="connsiteX1" fmla="*/ 83820 w 8846820"/>
              <a:gd name="connsiteY1" fmla="*/ 30480 h 198120"/>
              <a:gd name="connsiteX2" fmla="*/ 190500 w 8846820"/>
              <a:gd name="connsiteY2" fmla="*/ 38100 h 198120"/>
              <a:gd name="connsiteX3" fmla="*/ 312420 w 8846820"/>
              <a:gd name="connsiteY3" fmla="*/ 30480 h 198120"/>
              <a:gd name="connsiteX4" fmla="*/ 426720 w 8846820"/>
              <a:gd name="connsiteY4" fmla="*/ 30480 h 198120"/>
              <a:gd name="connsiteX5" fmla="*/ 472440 w 8846820"/>
              <a:gd name="connsiteY5" fmla="*/ 0 h 198120"/>
              <a:gd name="connsiteX6" fmla="*/ 579120 w 8846820"/>
              <a:gd name="connsiteY6" fmla="*/ 38100 h 198120"/>
              <a:gd name="connsiteX7" fmla="*/ 708660 w 8846820"/>
              <a:gd name="connsiteY7" fmla="*/ 30480 h 198120"/>
              <a:gd name="connsiteX8" fmla="*/ 792480 w 8846820"/>
              <a:gd name="connsiteY8" fmla="*/ 22860 h 198120"/>
              <a:gd name="connsiteX9" fmla="*/ 845820 w 8846820"/>
              <a:gd name="connsiteY9" fmla="*/ 22860 h 198120"/>
              <a:gd name="connsiteX10" fmla="*/ 937260 w 8846820"/>
              <a:gd name="connsiteY10" fmla="*/ 22860 h 198120"/>
              <a:gd name="connsiteX11" fmla="*/ 1051560 w 8846820"/>
              <a:gd name="connsiteY11" fmla="*/ 7620 h 198120"/>
              <a:gd name="connsiteX12" fmla="*/ 1104900 w 8846820"/>
              <a:gd name="connsiteY12" fmla="*/ 38100 h 198120"/>
              <a:gd name="connsiteX13" fmla="*/ 1150620 w 8846820"/>
              <a:gd name="connsiteY13" fmla="*/ 45720 h 198120"/>
              <a:gd name="connsiteX14" fmla="*/ 1264920 w 8846820"/>
              <a:gd name="connsiteY14" fmla="*/ 45720 h 198120"/>
              <a:gd name="connsiteX15" fmla="*/ 1356360 w 8846820"/>
              <a:gd name="connsiteY15" fmla="*/ 30480 h 198120"/>
              <a:gd name="connsiteX16" fmla="*/ 1424940 w 8846820"/>
              <a:gd name="connsiteY16" fmla="*/ 30480 h 198120"/>
              <a:gd name="connsiteX17" fmla="*/ 1516380 w 8846820"/>
              <a:gd name="connsiteY17" fmla="*/ 38100 h 198120"/>
              <a:gd name="connsiteX18" fmla="*/ 1592580 w 8846820"/>
              <a:gd name="connsiteY18" fmla="*/ 60960 h 198120"/>
              <a:gd name="connsiteX19" fmla="*/ 1821180 w 8846820"/>
              <a:gd name="connsiteY19" fmla="*/ 45720 h 198120"/>
              <a:gd name="connsiteX20" fmla="*/ 1889760 w 8846820"/>
              <a:gd name="connsiteY20" fmla="*/ 38100 h 198120"/>
              <a:gd name="connsiteX21" fmla="*/ 1988820 w 8846820"/>
              <a:gd name="connsiteY21" fmla="*/ 30480 h 198120"/>
              <a:gd name="connsiteX22" fmla="*/ 2110740 w 8846820"/>
              <a:gd name="connsiteY22" fmla="*/ 38100 h 198120"/>
              <a:gd name="connsiteX23" fmla="*/ 2232660 w 8846820"/>
              <a:gd name="connsiteY23" fmla="*/ 45720 h 198120"/>
              <a:gd name="connsiteX24" fmla="*/ 2377440 w 8846820"/>
              <a:gd name="connsiteY24" fmla="*/ 45720 h 198120"/>
              <a:gd name="connsiteX25" fmla="*/ 2423160 w 8846820"/>
              <a:gd name="connsiteY25" fmla="*/ 22860 h 198120"/>
              <a:gd name="connsiteX26" fmla="*/ 2499360 w 8846820"/>
              <a:gd name="connsiteY26" fmla="*/ 30480 h 198120"/>
              <a:gd name="connsiteX27" fmla="*/ 2606040 w 8846820"/>
              <a:gd name="connsiteY27" fmla="*/ 30480 h 198120"/>
              <a:gd name="connsiteX28" fmla="*/ 2727960 w 8846820"/>
              <a:gd name="connsiteY28" fmla="*/ 30480 h 198120"/>
              <a:gd name="connsiteX29" fmla="*/ 2796540 w 8846820"/>
              <a:gd name="connsiteY29" fmla="*/ 30480 h 198120"/>
              <a:gd name="connsiteX30" fmla="*/ 2903220 w 8846820"/>
              <a:gd name="connsiteY30" fmla="*/ 15240 h 198120"/>
              <a:gd name="connsiteX31" fmla="*/ 2979420 w 8846820"/>
              <a:gd name="connsiteY31" fmla="*/ 38100 h 198120"/>
              <a:gd name="connsiteX32" fmla="*/ 3063240 w 8846820"/>
              <a:gd name="connsiteY32" fmla="*/ 38100 h 198120"/>
              <a:gd name="connsiteX33" fmla="*/ 3124200 w 8846820"/>
              <a:gd name="connsiteY33" fmla="*/ 30480 h 198120"/>
              <a:gd name="connsiteX34" fmla="*/ 3192780 w 8846820"/>
              <a:gd name="connsiteY34" fmla="*/ 30480 h 198120"/>
              <a:gd name="connsiteX35" fmla="*/ 3299460 w 8846820"/>
              <a:gd name="connsiteY35" fmla="*/ 0 h 198120"/>
              <a:gd name="connsiteX36" fmla="*/ 3337560 w 8846820"/>
              <a:gd name="connsiteY36" fmla="*/ 0 h 198120"/>
              <a:gd name="connsiteX37" fmla="*/ 3421380 w 8846820"/>
              <a:gd name="connsiteY37" fmla="*/ 22860 h 198120"/>
              <a:gd name="connsiteX38" fmla="*/ 3505200 w 8846820"/>
              <a:gd name="connsiteY38" fmla="*/ 7620 h 198120"/>
              <a:gd name="connsiteX39" fmla="*/ 3611880 w 8846820"/>
              <a:gd name="connsiteY39" fmla="*/ 7620 h 198120"/>
              <a:gd name="connsiteX40" fmla="*/ 3695700 w 8846820"/>
              <a:gd name="connsiteY40" fmla="*/ 7620 h 198120"/>
              <a:gd name="connsiteX41" fmla="*/ 3810000 w 8846820"/>
              <a:gd name="connsiteY41" fmla="*/ 38100 h 198120"/>
              <a:gd name="connsiteX42" fmla="*/ 3878580 w 8846820"/>
              <a:gd name="connsiteY42" fmla="*/ 38100 h 198120"/>
              <a:gd name="connsiteX43" fmla="*/ 3954780 w 8846820"/>
              <a:gd name="connsiteY43" fmla="*/ 68580 h 198120"/>
              <a:gd name="connsiteX44" fmla="*/ 4023360 w 8846820"/>
              <a:gd name="connsiteY44" fmla="*/ 30480 h 198120"/>
              <a:gd name="connsiteX45" fmla="*/ 4114800 w 8846820"/>
              <a:gd name="connsiteY45" fmla="*/ 30480 h 198120"/>
              <a:gd name="connsiteX46" fmla="*/ 4221480 w 8846820"/>
              <a:gd name="connsiteY46" fmla="*/ 53340 h 198120"/>
              <a:gd name="connsiteX47" fmla="*/ 4312920 w 8846820"/>
              <a:gd name="connsiteY47" fmla="*/ 53340 h 198120"/>
              <a:gd name="connsiteX48" fmla="*/ 4366260 w 8846820"/>
              <a:gd name="connsiteY48" fmla="*/ 22860 h 198120"/>
              <a:gd name="connsiteX49" fmla="*/ 4434840 w 8846820"/>
              <a:gd name="connsiteY49" fmla="*/ 38100 h 198120"/>
              <a:gd name="connsiteX50" fmla="*/ 4533900 w 8846820"/>
              <a:gd name="connsiteY50" fmla="*/ 38100 h 198120"/>
              <a:gd name="connsiteX51" fmla="*/ 4572000 w 8846820"/>
              <a:gd name="connsiteY51" fmla="*/ 60960 h 198120"/>
              <a:gd name="connsiteX52" fmla="*/ 4739640 w 8846820"/>
              <a:gd name="connsiteY52" fmla="*/ 60960 h 198120"/>
              <a:gd name="connsiteX53" fmla="*/ 4823460 w 8846820"/>
              <a:gd name="connsiteY53" fmla="*/ 91440 h 198120"/>
              <a:gd name="connsiteX54" fmla="*/ 4907280 w 8846820"/>
              <a:gd name="connsiteY54" fmla="*/ 76200 h 198120"/>
              <a:gd name="connsiteX55" fmla="*/ 5013960 w 8846820"/>
              <a:gd name="connsiteY55" fmla="*/ 83820 h 198120"/>
              <a:gd name="connsiteX56" fmla="*/ 5090160 w 8846820"/>
              <a:gd name="connsiteY56" fmla="*/ 83820 h 198120"/>
              <a:gd name="connsiteX57" fmla="*/ 5250180 w 8846820"/>
              <a:gd name="connsiteY57" fmla="*/ 91440 h 198120"/>
              <a:gd name="connsiteX58" fmla="*/ 5250180 w 8846820"/>
              <a:gd name="connsiteY58" fmla="*/ 91440 h 198120"/>
              <a:gd name="connsiteX59" fmla="*/ 5402580 w 8846820"/>
              <a:gd name="connsiteY59" fmla="*/ 114300 h 198120"/>
              <a:gd name="connsiteX60" fmla="*/ 5486400 w 8846820"/>
              <a:gd name="connsiteY60" fmla="*/ 106680 h 198120"/>
              <a:gd name="connsiteX61" fmla="*/ 5585460 w 8846820"/>
              <a:gd name="connsiteY61" fmla="*/ 106680 h 198120"/>
              <a:gd name="connsiteX62" fmla="*/ 5646420 w 8846820"/>
              <a:gd name="connsiteY62" fmla="*/ 121920 h 198120"/>
              <a:gd name="connsiteX63" fmla="*/ 5806440 w 8846820"/>
              <a:gd name="connsiteY63" fmla="*/ 99060 h 198120"/>
              <a:gd name="connsiteX64" fmla="*/ 5867400 w 8846820"/>
              <a:gd name="connsiteY64" fmla="*/ 114300 h 198120"/>
              <a:gd name="connsiteX65" fmla="*/ 6050280 w 8846820"/>
              <a:gd name="connsiteY65" fmla="*/ 114300 h 198120"/>
              <a:gd name="connsiteX66" fmla="*/ 6195060 w 8846820"/>
              <a:gd name="connsiteY66" fmla="*/ 114300 h 198120"/>
              <a:gd name="connsiteX67" fmla="*/ 6286500 w 8846820"/>
              <a:gd name="connsiteY67" fmla="*/ 121920 h 198120"/>
              <a:gd name="connsiteX68" fmla="*/ 6316980 w 8846820"/>
              <a:gd name="connsiteY68" fmla="*/ 121920 h 198120"/>
              <a:gd name="connsiteX69" fmla="*/ 6446520 w 8846820"/>
              <a:gd name="connsiteY69" fmla="*/ 137160 h 198120"/>
              <a:gd name="connsiteX70" fmla="*/ 6477000 w 8846820"/>
              <a:gd name="connsiteY70" fmla="*/ 129540 h 198120"/>
              <a:gd name="connsiteX71" fmla="*/ 6507480 w 8846820"/>
              <a:gd name="connsiteY71" fmla="*/ 129540 h 198120"/>
              <a:gd name="connsiteX72" fmla="*/ 6606540 w 8846820"/>
              <a:gd name="connsiteY72" fmla="*/ 129540 h 198120"/>
              <a:gd name="connsiteX73" fmla="*/ 6682740 w 8846820"/>
              <a:gd name="connsiteY73" fmla="*/ 121920 h 198120"/>
              <a:gd name="connsiteX74" fmla="*/ 6720840 w 8846820"/>
              <a:gd name="connsiteY74" fmla="*/ 106680 h 198120"/>
              <a:gd name="connsiteX75" fmla="*/ 6903720 w 8846820"/>
              <a:gd name="connsiteY75" fmla="*/ 144780 h 198120"/>
              <a:gd name="connsiteX76" fmla="*/ 6979920 w 8846820"/>
              <a:gd name="connsiteY76" fmla="*/ 114300 h 198120"/>
              <a:gd name="connsiteX77" fmla="*/ 7063740 w 8846820"/>
              <a:gd name="connsiteY77" fmla="*/ 137160 h 198120"/>
              <a:gd name="connsiteX78" fmla="*/ 7223760 w 8846820"/>
              <a:gd name="connsiteY78" fmla="*/ 83820 h 198120"/>
              <a:gd name="connsiteX79" fmla="*/ 7299960 w 8846820"/>
              <a:gd name="connsiteY79" fmla="*/ 114300 h 198120"/>
              <a:gd name="connsiteX80" fmla="*/ 7360920 w 8846820"/>
              <a:gd name="connsiteY80" fmla="*/ 114300 h 198120"/>
              <a:gd name="connsiteX81" fmla="*/ 7482840 w 8846820"/>
              <a:gd name="connsiteY81" fmla="*/ 137160 h 198120"/>
              <a:gd name="connsiteX82" fmla="*/ 7559040 w 8846820"/>
              <a:gd name="connsiteY82" fmla="*/ 106680 h 198120"/>
              <a:gd name="connsiteX83" fmla="*/ 7635240 w 8846820"/>
              <a:gd name="connsiteY83" fmla="*/ 106680 h 198120"/>
              <a:gd name="connsiteX84" fmla="*/ 7703820 w 8846820"/>
              <a:gd name="connsiteY84" fmla="*/ 106680 h 198120"/>
              <a:gd name="connsiteX85" fmla="*/ 7917180 w 8846820"/>
              <a:gd name="connsiteY85" fmla="*/ 114300 h 198120"/>
              <a:gd name="connsiteX86" fmla="*/ 8069580 w 8846820"/>
              <a:gd name="connsiteY86" fmla="*/ 91440 h 198120"/>
              <a:gd name="connsiteX87" fmla="*/ 8221980 w 8846820"/>
              <a:gd name="connsiteY87" fmla="*/ 114300 h 198120"/>
              <a:gd name="connsiteX88" fmla="*/ 8328660 w 8846820"/>
              <a:gd name="connsiteY88" fmla="*/ 76200 h 198120"/>
              <a:gd name="connsiteX89" fmla="*/ 8412480 w 8846820"/>
              <a:gd name="connsiteY89" fmla="*/ 76200 h 198120"/>
              <a:gd name="connsiteX90" fmla="*/ 8549640 w 8846820"/>
              <a:gd name="connsiteY90" fmla="*/ 198120 h 198120"/>
              <a:gd name="connsiteX91" fmla="*/ 8671560 w 8846820"/>
              <a:gd name="connsiteY91" fmla="*/ 152400 h 198120"/>
              <a:gd name="connsiteX92" fmla="*/ 8702040 w 8846820"/>
              <a:gd name="connsiteY92" fmla="*/ 190500 h 198120"/>
              <a:gd name="connsiteX93" fmla="*/ 8846820 w 8846820"/>
              <a:gd name="connsiteY93" fmla="*/ 167640 h 198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</a:cxnLst>
            <a:rect l="l" t="t" r="r" b="b"/>
            <a:pathLst>
              <a:path w="8846820" h="198120">
                <a:moveTo>
                  <a:pt x="0" y="22860"/>
                </a:moveTo>
                <a:lnTo>
                  <a:pt x="83820" y="30480"/>
                </a:lnTo>
                <a:lnTo>
                  <a:pt x="190500" y="38100"/>
                </a:lnTo>
                <a:lnTo>
                  <a:pt x="312420" y="30480"/>
                </a:lnTo>
                <a:lnTo>
                  <a:pt x="426720" y="30480"/>
                </a:lnTo>
                <a:lnTo>
                  <a:pt x="472440" y="0"/>
                </a:lnTo>
                <a:lnTo>
                  <a:pt x="579120" y="38100"/>
                </a:lnTo>
                <a:lnTo>
                  <a:pt x="708660" y="30480"/>
                </a:lnTo>
                <a:lnTo>
                  <a:pt x="792480" y="22860"/>
                </a:lnTo>
                <a:lnTo>
                  <a:pt x="845820" y="22860"/>
                </a:lnTo>
                <a:lnTo>
                  <a:pt x="937260" y="22860"/>
                </a:lnTo>
                <a:lnTo>
                  <a:pt x="1051560" y="7620"/>
                </a:lnTo>
                <a:lnTo>
                  <a:pt x="1104900" y="38100"/>
                </a:lnTo>
                <a:lnTo>
                  <a:pt x="1150620" y="45720"/>
                </a:lnTo>
                <a:lnTo>
                  <a:pt x="1264920" y="45720"/>
                </a:lnTo>
                <a:lnTo>
                  <a:pt x="1356360" y="30480"/>
                </a:lnTo>
                <a:lnTo>
                  <a:pt x="1424940" y="30480"/>
                </a:lnTo>
                <a:lnTo>
                  <a:pt x="1516380" y="38100"/>
                </a:lnTo>
                <a:lnTo>
                  <a:pt x="1592580" y="60960"/>
                </a:lnTo>
                <a:lnTo>
                  <a:pt x="1821180" y="45720"/>
                </a:lnTo>
                <a:lnTo>
                  <a:pt x="1889760" y="38100"/>
                </a:lnTo>
                <a:lnTo>
                  <a:pt x="1988820" y="30480"/>
                </a:lnTo>
                <a:lnTo>
                  <a:pt x="2110740" y="38100"/>
                </a:lnTo>
                <a:lnTo>
                  <a:pt x="2232660" y="45720"/>
                </a:lnTo>
                <a:lnTo>
                  <a:pt x="2377440" y="45720"/>
                </a:lnTo>
                <a:lnTo>
                  <a:pt x="2423160" y="22860"/>
                </a:lnTo>
                <a:lnTo>
                  <a:pt x="2499360" y="30480"/>
                </a:lnTo>
                <a:lnTo>
                  <a:pt x="2606040" y="30480"/>
                </a:lnTo>
                <a:lnTo>
                  <a:pt x="2727960" y="30480"/>
                </a:lnTo>
                <a:lnTo>
                  <a:pt x="2796540" y="30480"/>
                </a:lnTo>
                <a:lnTo>
                  <a:pt x="2903220" y="15240"/>
                </a:lnTo>
                <a:lnTo>
                  <a:pt x="2979420" y="38100"/>
                </a:lnTo>
                <a:lnTo>
                  <a:pt x="3063240" y="38100"/>
                </a:lnTo>
                <a:lnTo>
                  <a:pt x="3124200" y="30480"/>
                </a:lnTo>
                <a:lnTo>
                  <a:pt x="3192780" y="30480"/>
                </a:lnTo>
                <a:lnTo>
                  <a:pt x="3299460" y="0"/>
                </a:lnTo>
                <a:lnTo>
                  <a:pt x="3337560" y="0"/>
                </a:lnTo>
                <a:lnTo>
                  <a:pt x="3421380" y="22860"/>
                </a:lnTo>
                <a:lnTo>
                  <a:pt x="3505200" y="7620"/>
                </a:lnTo>
                <a:lnTo>
                  <a:pt x="3611880" y="7620"/>
                </a:lnTo>
                <a:lnTo>
                  <a:pt x="3695700" y="7620"/>
                </a:lnTo>
                <a:lnTo>
                  <a:pt x="3810000" y="38100"/>
                </a:lnTo>
                <a:lnTo>
                  <a:pt x="3878580" y="38100"/>
                </a:lnTo>
                <a:lnTo>
                  <a:pt x="3954780" y="68580"/>
                </a:lnTo>
                <a:lnTo>
                  <a:pt x="4023360" y="30480"/>
                </a:lnTo>
                <a:lnTo>
                  <a:pt x="4114800" y="30480"/>
                </a:lnTo>
                <a:lnTo>
                  <a:pt x="4221480" y="53340"/>
                </a:lnTo>
                <a:lnTo>
                  <a:pt x="4312920" y="53340"/>
                </a:lnTo>
                <a:lnTo>
                  <a:pt x="4366260" y="22860"/>
                </a:lnTo>
                <a:lnTo>
                  <a:pt x="4434840" y="38100"/>
                </a:lnTo>
                <a:lnTo>
                  <a:pt x="4533900" y="38100"/>
                </a:lnTo>
                <a:lnTo>
                  <a:pt x="4572000" y="60960"/>
                </a:lnTo>
                <a:lnTo>
                  <a:pt x="4739640" y="60960"/>
                </a:lnTo>
                <a:lnTo>
                  <a:pt x="4823460" y="91440"/>
                </a:lnTo>
                <a:lnTo>
                  <a:pt x="4907280" y="76200"/>
                </a:lnTo>
                <a:lnTo>
                  <a:pt x="5013960" y="83820"/>
                </a:lnTo>
                <a:lnTo>
                  <a:pt x="5090160" y="83820"/>
                </a:lnTo>
                <a:lnTo>
                  <a:pt x="5250180" y="91440"/>
                </a:lnTo>
                <a:lnTo>
                  <a:pt x="5250180" y="91440"/>
                </a:lnTo>
                <a:lnTo>
                  <a:pt x="5402580" y="114300"/>
                </a:lnTo>
                <a:lnTo>
                  <a:pt x="5486400" y="106680"/>
                </a:lnTo>
                <a:lnTo>
                  <a:pt x="5585460" y="106680"/>
                </a:lnTo>
                <a:lnTo>
                  <a:pt x="5646420" y="121920"/>
                </a:lnTo>
                <a:lnTo>
                  <a:pt x="5806440" y="99060"/>
                </a:lnTo>
                <a:lnTo>
                  <a:pt x="5867400" y="114300"/>
                </a:lnTo>
                <a:lnTo>
                  <a:pt x="6050280" y="114300"/>
                </a:lnTo>
                <a:lnTo>
                  <a:pt x="6195060" y="114300"/>
                </a:lnTo>
                <a:lnTo>
                  <a:pt x="6286500" y="121920"/>
                </a:lnTo>
                <a:lnTo>
                  <a:pt x="6316980" y="121920"/>
                </a:lnTo>
                <a:lnTo>
                  <a:pt x="6446520" y="137160"/>
                </a:lnTo>
                <a:lnTo>
                  <a:pt x="6477000" y="129540"/>
                </a:lnTo>
                <a:lnTo>
                  <a:pt x="6507480" y="129540"/>
                </a:lnTo>
                <a:lnTo>
                  <a:pt x="6606540" y="129540"/>
                </a:lnTo>
                <a:lnTo>
                  <a:pt x="6682740" y="121920"/>
                </a:lnTo>
                <a:lnTo>
                  <a:pt x="6720840" y="106680"/>
                </a:lnTo>
                <a:lnTo>
                  <a:pt x="6903720" y="144780"/>
                </a:lnTo>
                <a:lnTo>
                  <a:pt x="6979920" y="114300"/>
                </a:lnTo>
                <a:lnTo>
                  <a:pt x="7063740" y="137160"/>
                </a:lnTo>
                <a:lnTo>
                  <a:pt x="7223760" y="83820"/>
                </a:lnTo>
                <a:lnTo>
                  <a:pt x="7299960" y="114300"/>
                </a:lnTo>
                <a:lnTo>
                  <a:pt x="7360920" y="114300"/>
                </a:lnTo>
                <a:lnTo>
                  <a:pt x="7482840" y="137160"/>
                </a:lnTo>
                <a:lnTo>
                  <a:pt x="7559040" y="106680"/>
                </a:lnTo>
                <a:lnTo>
                  <a:pt x="7635240" y="106680"/>
                </a:lnTo>
                <a:lnTo>
                  <a:pt x="7703820" y="106680"/>
                </a:lnTo>
                <a:lnTo>
                  <a:pt x="7917180" y="114300"/>
                </a:lnTo>
                <a:lnTo>
                  <a:pt x="8069580" y="91440"/>
                </a:lnTo>
                <a:lnTo>
                  <a:pt x="8221980" y="114300"/>
                </a:lnTo>
                <a:lnTo>
                  <a:pt x="8328660" y="76200"/>
                </a:lnTo>
                <a:lnTo>
                  <a:pt x="8412480" y="76200"/>
                </a:lnTo>
                <a:lnTo>
                  <a:pt x="8549640" y="198120"/>
                </a:lnTo>
                <a:lnTo>
                  <a:pt x="8671560" y="152400"/>
                </a:lnTo>
                <a:lnTo>
                  <a:pt x="8702040" y="190500"/>
                </a:lnTo>
                <a:lnTo>
                  <a:pt x="8846820" y="167640"/>
                </a:lnTo>
              </a:path>
            </a:pathLst>
          </a:cu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IN" dirty="0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08B92BA8-EB34-4536-B57C-C4F50066C114}"/>
              </a:ext>
            </a:extLst>
          </p:cNvPr>
          <p:cNvSpPr/>
          <p:nvPr/>
        </p:nvSpPr>
        <p:spPr>
          <a:xfrm>
            <a:off x="1905000" y="2468880"/>
            <a:ext cx="8854440" cy="358140"/>
          </a:xfrm>
          <a:custGeom>
            <a:avLst/>
            <a:gdLst>
              <a:gd name="connsiteX0" fmla="*/ 0 w 8854440"/>
              <a:gd name="connsiteY0" fmla="*/ 0 h 358140"/>
              <a:gd name="connsiteX1" fmla="*/ 205740 w 8854440"/>
              <a:gd name="connsiteY1" fmla="*/ 30480 h 358140"/>
              <a:gd name="connsiteX2" fmla="*/ 312420 w 8854440"/>
              <a:gd name="connsiteY2" fmla="*/ 7620 h 358140"/>
              <a:gd name="connsiteX3" fmla="*/ 396240 w 8854440"/>
              <a:gd name="connsiteY3" fmla="*/ 22860 h 358140"/>
              <a:gd name="connsiteX4" fmla="*/ 480060 w 8854440"/>
              <a:gd name="connsiteY4" fmla="*/ 30480 h 358140"/>
              <a:gd name="connsiteX5" fmla="*/ 594360 w 8854440"/>
              <a:gd name="connsiteY5" fmla="*/ 0 h 358140"/>
              <a:gd name="connsiteX6" fmla="*/ 640080 w 8854440"/>
              <a:gd name="connsiteY6" fmla="*/ 22860 h 358140"/>
              <a:gd name="connsiteX7" fmla="*/ 731520 w 8854440"/>
              <a:gd name="connsiteY7" fmla="*/ 7620 h 358140"/>
              <a:gd name="connsiteX8" fmla="*/ 815340 w 8854440"/>
              <a:gd name="connsiteY8" fmla="*/ 38100 h 358140"/>
              <a:gd name="connsiteX9" fmla="*/ 944880 w 8854440"/>
              <a:gd name="connsiteY9" fmla="*/ 38100 h 358140"/>
              <a:gd name="connsiteX10" fmla="*/ 1066800 w 8854440"/>
              <a:gd name="connsiteY10" fmla="*/ 38100 h 358140"/>
              <a:gd name="connsiteX11" fmla="*/ 1165860 w 8854440"/>
              <a:gd name="connsiteY11" fmla="*/ 68580 h 358140"/>
              <a:gd name="connsiteX12" fmla="*/ 1264920 w 8854440"/>
              <a:gd name="connsiteY12" fmla="*/ 53340 h 358140"/>
              <a:gd name="connsiteX13" fmla="*/ 1318260 w 8854440"/>
              <a:gd name="connsiteY13" fmla="*/ 38100 h 358140"/>
              <a:gd name="connsiteX14" fmla="*/ 1379220 w 8854440"/>
              <a:gd name="connsiteY14" fmla="*/ 60960 h 358140"/>
              <a:gd name="connsiteX15" fmla="*/ 1516380 w 8854440"/>
              <a:gd name="connsiteY15" fmla="*/ 45720 h 358140"/>
              <a:gd name="connsiteX16" fmla="*/ 1653540 w 8854440"/>
              <a:gd name="connsiteY16" fmla="*/ 60960 h 358140"/>
              <a:gd name="connsiteX17" fmla="*/ 1737360 w 8854440"/>
              <a:gd name="connsiteY17" fmla="*/ 60960 h 358140"/>
              <a:gd name="connsiteX18" fmla="*/ 1805940 w 8854440"/>
              <a:gd name="connsiteY18" fmla="*/ 60960 h 358140"/>
              <a:gd name="connsiteX19" fmla="*/ 1897380 w 8854440"/>
              <a:gd name="connsiteY19" fmla="*/ 53340 h 358140"/>
              <a:gd name="connsiteX20" fmla="*/ 2011680 w 8854440"/>
              <a:gd name="connsiteY20" fmla="*/ 38100 h 358140"/>
              <a:gd name="connsiteX21" fmla="*/ 2240280 w 8854440"/>
              <a:gd name="connsiteY21" fmla="*/ 38100 h 358140"/>
              <a:gd name="connsiteX22" fmla="*/ 2377440 w 8854440"/>
              <a:gd name="connsiteY22" fmla="*/ 38100 h 358140"/>
              <a:gd name="connsiteX23" fmla="*/ 2476500 w 8854440"/>
              <a:gd name="connsiteY23" fmla="*/ 60960 h 358140"/>
              <a:gd name="connsiteX24" fmla="*/ 2606040 w 8854440"/>
              <a:gd name="connsiteY24" fmla="*/ 38100 h 358140"/>
              <a:gd name="connsiteX25" fmla="*/ 2606040 w 8854440"/>
              <a:gd name="connsiteY25" fmla="*/ 38100 h 358140"/>
              <a:gd name="connsiteX26" fmla="*/ 2865120 w 8854440"/>
              <a:gd name="connsiteY26" fmla="*/ 45720 h 358140"/>
              <a:gd name="connsiteX27" fmla="*/ 2979420 w 8854440"/>
              <a:gd name="connsiteY27" fmla="*/ 83820 h 358140"/>
              <a:gd name="connsiteX28" fmla="*/ 3101340 w 8854440"/>
              <a:gd name="connsiteY28" fmla="*/ 38100 h 358140"/>
              <a:gd name="connsiteX29" fmla="*/ 3223260 w 8854440"/>
              <a:gd name="connsiteY29" fmla="*/ 45720 h 358140"/>
              <a:gd name="connsiteX30" fmla="*/ 3284220 w 8854440"/>
              <a:gd name="connsiteY30" fmla="*/ 38100 h 358140"/>
              <a:gd name="connsiteX31" fmla="*/ 3589020 w 8854440"/>
              <a:gd name="connsiteY31" fmla="*/ 83820 h 358140"/>
              <a:gd name="connsiteX32" fmla="*/ 3680460 w 8854440"/>
              <a:gd name="connsiteY32" fmla="*/ 76200 h 358140"/>
              <a:gd name="connsiteX33" fmla="*/ 3817620 w 8854440"/>
              <a:gd name="connsiteY33" fmla="*/ 91440 h 358140"/>
              <a:gd name="connsiteX34" fmla="*/ 3962400 w 8854440"/>
              <a:gd name="connsiteY34" fmla="*/ 137160 h 358140"/>
              <a:gd name="connsiteX35" fmla="*/ 4091940 w 8854440"/>
              <a:gd name="connsiteY35" fmla="*/ 99060 h 358140"/>
              <a:gd name="connsiteX36" fmla="*/ 4160520 w 8854440"/>
              <a:gd name="connsiteY36" fmla="*/ 114300 h 358140"/>
              <a:gd name="connsiteX37" fmla="*/ 4259580 w 8854440"/>
              <a:gd name="connsiteY37" fmla="*/ 114300 h 358140"/>
              <a:gd name="connsiteX38" fmla="*/ 4389120 w 8854440"/>
              <a:gd name="connsiteY38" fmla="*/ 152400 h 358140"/>
              <a:gd name="connsiteX39" fmla="*/ 4640580 w 8854440"/>
              <a:gd name="connsiteY39" fmla="*/ 152400 h 358140"/>
              <a:gd name="connsiteX40" fmla="*/ 4770120 w 8854440"/>
              <a:gd name="connsiteY40" fmla="*/ 144780 h 358140"/>
              <a:gd name="connsiteX41" fmla="*/ 4945380 w 8854440"/>
              <a:gd name="connsiteY41" fmla="*/ 167640 h 358140"/>
              <a:gd name="connsiteX42" fmla="*/ 5029200 w 8854440"/>
              <a:gd name="connsiteY42" fmla="*/ 167640 h 358140"/>
              <a:gd name="connsiteX43" fmla="*/ 5113020 w 8854440"/>
              <a:gd name="connsiteY43" fmla="*/ 167640 h 358140"/>
              <a:gd name="connsiteX44" fmla="*/ 5173980 w 8854440"/>
              <a:gd name="connsiteY44" fmla="*/ 160020 h 358140"/>
              <a:gd name="connsiteX45" fmla="*/ 5227320 w 8854440"/>
              <a:gd name="connsiteY45" fmla="*/ 175260 h 358140"/>
              <a:gd name="connsiteX46" fmla="*/ 5326380 w 8854440"/>
              <a:gd name="connsiteY46" fmla="*/ 167640 h 358140"/>
              <a:gd name="connsiteX47" fmla="*/ 5463540 w 8854440"/>
              <a:gd name="connsiteY47" fmla="*/ 175260 h 358140"/>
              <a:gd name="connsiteX48" fmla="*/ 5615940 w 8854440"/>
              <a:gd name="connsiteY48" fmla="*/ 182880 h 358140"/>
              <a:gd name="connsiteX49" fmla="*/ 5646420 w 8854440"/>
              <a:gd name="connsiteY49" fmla="*/ 198120 h 358140"/>
              <a:gd name="connsiteX50" fmla="*/ 5699760 w 8854440"/>
              <a:gd name="connsiteY50" fmla="*/ 205740 h 358140"/>
              <a:gd name="connsiteX51" fmla="*/ 5829300 w 8854440"/>
              <a:gd name="connsiteY51" fmla="*/ 205740 h 358140"/>
              <a:gd name="connsiteX52" fmla="*/ 5867400 w 8854440"/>
              <a:gd name="connsiteY52" fmla="*/ 205740 h 358140"/>
              <a:gd name="connsiteX53" fmla="*/ 6019800 w 8854440"/>
              <a:gd name="connsiteY53" fmla="*/ 213360 h 358140"/>
              <a:gd name="connsiteX54" fmla="*/ 6088380 w 8854440"/>
              <a:gd name="connsiteY54" fmla="*/ 228600 h 358140"/>
              <a:gd name="connsiteX55" fmla="*/ 6195060 w 8854440"/>
              <a:gd name="connsiteY55" fmla="*/ 205740 h 358140"/>
              <a:gd name="connsiteX56" fmla="*/ 6248400 w 8854440"/>
              <a:gd name="connsiteY56" fmla="*/ 213360 h 358140"/>
              <a:gd name="connsiteX57" fmla="*/ 6362700 w 8854440"/>
              <a:gd name="connsiteY57" fmla="*/ 213360 h 358140"/>
              <a:gd name="connsiteX58" fmla="*/ 6507480 w 8854440"/>
              <a:gd name="connsiteY58" fmla="*/ 228600 h 358140"/>
              <a:gd name="connsiteX59" fmla="*/ 6652260 w 8854440"/>
              <a:gd name="connsiteY59" fmla="*/ 228600 h 358140"/>
              <a:gd name="connsiteX60" fmla="*/ 6766560 w 8854440"/>
              <a:gd name="connsiteY60" fmla="*/ 205740 h 358140"/>
              <a:gd name="connsiteX61" fmla="*/ 6819900 w 8854440"/>
              <a:gd name="connsiteY61" fmla="*/ 228600 h 358140"/>
              <a:gd name="connsiteX62" fmla="*/ 6903720 w 8854440"/>
              <a:gd name="connsiteY62" fmla="*/ 220980 h 358140"/>
              <a:gd name="connsiteX63" fmla="*/ 7010400 w 8854440"/>
              <a:gd name="connsiteY63" fmla="*/ 220980 h 358140"/>
              <a:gd name="connsiteX64" fmla="*/ 7178040 w 8854440"/>
              <a:gd name="connsiteY64" fmla="*/ 220980 h 358140"/>
              <a:gd name="connsiteX65" fmla="*/ 7345680 w 8854440"/>
              <a:gd name="connsiteY65" fmla="*/ 236220 h 358140"/>
              <a:gd name="connsiteX66" fmla="*/ 7383780 w 8854440"/>
              <a:gd name="connsiteY66" fmla="*/ 205740 h 358140"/>
              <a:gd name="connsiteX67" fmla="*/ 7444740 w 8854440"/>
              <a:gd name="connsiteY67" fmla="*/ 236220 h 358140"/>
              <a:gd name="connsiteX68" fmla="*/ 7574280 w 8854440"/>
              <a:gd name="connsiteY68" fmla="*/ 205740 h 358140"/>
              <a:gd name="connsiteX69" fmla="*/ 7635240 w 8854440"/>
              <a:gd name="connsiteY69" fmla="*/ 198120 h 358140"/>
              <a:gd name="connsiteX70" fmla="*/ 7719060 w 8854440"/>
              <a:gd name="connsiteY70" fmla="*/ 205740 h 358140"/>
              <a:gd name="connsiteX71" fmla="*/ 7940040 w 8854440"/>
              <a:gd name="connsiteY71" fmla="*/ 228600 h 358140"/>
              <a:gd name="connsiteX72" fmla="*/ 8031480 w 8854440"/>
              <a:gd name="connsiteY72" fmla="*/ 220980 h 358140"/>
              <a:gd name="connsiteX73" fmla="*/ 8237220 w 8854440"/>
              <a:gd name="connsiteY73" fmla="*/ 205740 h 358140"/>
              <a:gd name="connsiteX74" fmla="*/ 8435340 w 8854440"/>
              <a:gd name="connsiteY74" fmla="*/ 213360 h 358140"/>
              <a:gd name="connsiteX75" fmla="*/ 8496300 w 8854440"/>
              <a:gd name="connsiteY75" fmla="*/ 266700 h 358140"/>
              <a:gd name="connsiteX76" fmla="*/ 8526780 w 8854440"/>
              <a:gd name="connsiteY76" fmla="*/ 358140 h 358140"/>
              <a:gd name="connsiteX77" fmla="*/ 8610600 w 8854440"/>
              <a:gd name="connsiteY77" fmla="*/ 312420 h 358140"/>
              <a:gd name="connsiteX78" fmla="*/ 8679180 w 8854440"/>
              <a:gd name="connsiteY78" fmla="*/ 304800 h 358140"/>
              <a:gd name="connsiteX79" fmla="*/ 8778240 w 8854440"/>
              <a:gd name="connsiteY79" fmla="*/ 297180 h 358140"/>
              <a:gd name="connsiteX80" fmla="*/ 8854440 w 8854440"/>
              <a:gd name="connsiteY80" fmla="*/ 297180 h 358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8854440" h="358140">
                <a:moveTo>
                  <a:pt x="0" y="0"/>
                </a:moveTo>
                <a:lnTo>
                  <a:pt x="205740" y="30480"/>
                </a:lnTo>
                <a:lnTo>
                  <a:pt x="312420" y="7620"/>
                </a:lnTo>
                <a:lnTo>
                  <a:pt x="396240" y="22860"/>
                </a:lnTo>
                <a:lnTo>
                  <a:pt x="480060" y="30480"/>
                </a:lnTo>
                <a:lnTo>
                  <a:pt x="594360" y="0"/>
                </a:lnTo>
                <a:lnTo>
                  <a:pt x="640080" y="22860"/>
                </a:lnTo>
                <a:lnTo>
                  <a:pt x="731520" y="7620"/>
                </a:lnTo>
                <a:lnTo>
                  <a:pt x="815340" y="38100"/>
                </a:lnTo>
                <a:lnTo>
                  <a:pt x="944880" y="38100"/>
                </a:lnTo>
                <a:lnTo>
                  <a:pt x="1066800" y="38100"/>
                </a:lnTo>
                <a:lnTo>
                  <a:pt x="1165860" y="68580"/>
                </a:lnTo>
                <a:lnTo>
                  <a:pt x="1264920" y="53340"/>
                </a:lnTo>
                <a:lnTo>
                  <a:pt x="1318260" y="38100"/>
                </a:lnTo>
                <a:lnTo>
                  <a:pt x="1379220" y="60960"/>
                </a:lnTo>
                <a:lnTo>
                  <a:pt x="1516380" y="45720"/>
                </a:lnTo>
                <a:lnTo>
                  <a:pt x="1653540" y="60960"/>
                </a:lnTo>
                <a:lnTo>
                  <a:pt x="1737360" y="60960"/>
                </a:lnTo>
                <a:lnTo>
                  <a:pt x="1805940" y="60960"/>
                </a:lnTo>
                <a:lnTo>
                  <a:pt x="1897380" y="53340"/>
                </a:lnTo>
                <a:lnTo>
                  <a:pt x="2011680" y="38100"/>
                </a:lnTo>
                <a:lnTo>
                  <a:pt x="2240280" y="38100"/>
                </a:lnTo>
                <a:lnTo>
                  <a:pt x="2377440" y="38100"/>
                </a:lnTo>
                <a:lnTo>
                  <a:pt x="2476500" y="60960"/>
                </a:lnTo>
                <a:lnTo>
                  <a:pt x="2606040" y="38100"/>
                </a:lnTo>
                <a:lnTo>
                  <a:pt x="2606040" y="38100"/>
                </a:lnTo>
                <a:lnTo>
                  <a:pt x="2865120" y="45720"/>
                </a:lnTo>
                <a:lnTo>
                  <a:pt x="2979420" y="83820"/>
                </a:lnTo>
                <a:lnTo>
                  <a:pt x="3101340" y="38100"/>
                </a:lnTo>
                <a:lnTo>
                  <a:pt x="3223260" y="45720"/>
                </a:lnTo>
                <a:lnTo>
                  <a:pt x="3284220" y="38100"/>
                </a:lnTo>
                <a:lnTo>
                  <a:pt x="3589020" y="83820"/>
                </a:lnTo>
                <a:lnTo>
                  <a:pt x="3680460" y="76200"/>
                </a:lnTo>
                <a:lnTo>
                  <a:pt x="3817620" y="91440"/>
                </a:lnTo>
                <a:lnTo>
                  <a:pt x="3962400" y="137160"/>
                </a:lnTo>
                <a:lnTo>
                  <a:pt x="4091940" y="99060"/>
                </a:lnTo>
                <a:lnTo>
                  <a:pt x="4160520" y="114300"/>
                </a:lnTo>
                <a:lnTo>
                  <a:pt x="4259580" y="114300"/>
                </a:lnTo>
                <a:lnTo>
                  <a:pt x="4389120" y="152400"/>
                </a:lnTo>
                <a:lnTo>
                  <a:pt x="4640580" y="152400"/>
                </a:lnTo>
                <a:lnTo>
                  <a:pt x="4770120" y="144780"/>
                </a:lnTo>
                <a:lnTo>
                  <a:pt x="4945380" y="167640"/>
                </a:lnTo>
                <a:lnTo>
                  <a:pt x="5029200" y="167640"/>
                </a:lnTo>
                <a:lnTo>
                  <a:pt x="5113020" y="167640"/>
                </a:lnTo>
                <a:lnTo>
                  <a:pt x="5173980" y="160020"/>
                </a:lnTo>
                <a:lnTo>
                  <a:pt x="5227320" y="175260"/>
                </a:lnTo>
                <a:lnTo>
                  <a:pt x="5326380" y="167640"/>
                </a:lnTo>
                <a:lnTo>
                  <a:pt x="5463540" y="175260"/>
                </a:lnTo>
                <a:lnTo>
                  <a:pt x="5615940" y="182880"/>
                </a:lnTo>
                <a:lnTo>
                  <a:pt x="5646420" y="198120"/>
                </a:lnTo>
                <a:lnTo>
                  <a:pt x="5699760" y="205740"/>
                </a:lnTo>
                <a:lnTo>
                  <a:pt x="5829300" y="205740"/>
                </a:lnTo>
                <a:lnTo>
                  <a:pt x="5867400" y="205740"/>
                </a:lnTo>
                <a:lnTo>
                  <a:pt x="6019800" y="213360"/>
                </a:lnTo>
                <a:lnTo>
                  <a:pt x="6088380" y="228600"/>
                </a:lnTo>
                <a:lnTo>
                  <a:pt x="6195060" y="205740"/>
                </a:lnTo>
                <a:lnTo>
                  <a:pt x="6248400" y="213360"/>
                </a:lnTo>
                <a:lnTo>
                  <a:pt x="6362700" y="213360"/>
                </a:lnTo>
                <a:lnTo>
                  <a:pt x="6507480" y="228600"/>
                </a:lnTo>
                <a:lnTo>
                  <a:pt x="6652260" y="228600"/>
                </a:lnTo>
                <a:lnTo>
                  <a:pt x="6766560" y="205740"/>
                </a:lnTo>
                <a:lnTo>
                  <a:pt x="6819900" y="228600"/>
                </a:lnTo>
                <a:lnTo>
                  <a:pt x="6903720" y="220980"/>
                </a:lnTo>
                <a:lnTo>
                  <a:pt x="7010400" y="220980"/>
                </a:lnTo>
                <a:lnTo>
                  <a:pt x="7178040" y="220980"/>
                </a:lnTo>
                <a:lnTo>
                  <a:pt x="7345680" y="236220"/>
                </a:lnTo>
                <a:lnTo>
                  <a:pt x="7383780" y="205740"/>
                </a:lnTo>
                <a:lnTo>
                  <a:pt x="7444740" y="236220"/>
                </a:lnTo>
                <a:lnTo>
                  <a:pt x="7574280" y="205740"/>
                </a:lnTo>
                <a:lnTo>
                  <a:pt x="7635240" y="198120"/>
                </a:lnTo>
                <a:lnTo>
                  <a:pt x="7719060" y="205740"/>
                </a:lnTo>
                <a:lnTo>
                  <a:pt x="7940040" y="228600"/>
                </a:lnTo>
                <a:lnTo>
                  <a:pt x="8031480" y="220980"/>
                </a:lnTo>
                <a:lnTo>
                  <a:pt x="8237220" y="205740"/>
                </a:lnTo>
                <a:lnTo>
                  <a:pt x="8435340" y="213360"/>
                </a:lnTo>
                <a:lnTo>
                  <a:pt x="8496300" y="266700"/>
                </a:lnTo>
                <a:lnTo>
                  <a:pt x="8526780" y="358140"/>
                </a:lnTo>
                <a:lnTo>
                  <a:pt x="8610600" y="312420"/>
                </a:lnTo>
                <a:lnTo>
                  <a:pt x="8679180" y="304800"/>
                </a:lnTo>
                <a:lnTo>
                  <a:pt x="8778240" y="297180"/>
                </a:lnTo>
                <a:lnTo>
                  <a:pt x="8854440" y="297180"/>
                </a:lnTo>
              </a:path>
            </a:pathLst>
          </a:cu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F9F15277-745F-47B0-8FF8-E3E8D5533013}"/>
              </a:ext>
            </a:extLst>
          </p:cNvPr>
          <p:cNvSpPr/>
          <p:nvPr/>
        </p:nvSpPr>
        <p:spPr>
          <a:xfrm>
            <a:off x="1889760" y="2880360"/>
            <a:ext cx="8785860" cy="281940"/>
          </a:xfrm>
          <a:custGeom>
            <a:avLst/>
            <a:gdLst>
              <a:gd name="connsiteX0" fmla="*/ 0 w 8785860"/>
              <a:gd name="connsiteY0" fmla="*/ 0 h 281940"/>
              <a:gd name="connsiteX1" fmla="*/ 167640 w 8785860"/>
              <a:gd name="connsiteY1" fmla="*/ 22860 h 281940"/>
              <a:gd name="connsiteX2" fmla="*/ 243840 w 8785860"/>
              <a:gd name="connsiteY2" fmla="*/ 22860 h 281940"/>
              <a:gd name="connsiteX3" fmla="*/ 350520 w 8785860"/>
              <a:gd name="connsiteY3" fmla="*/ 30480 h 281940"/>
              <a:gd name="connsiteX4" fmla="*/ 441960 w 8785860"/>
              <a:gd name="connsiteY4" fmla="*/ 30480 h 281940"/>
              <a:gd name="connsiteX5" fmla="*/ 487680 w 8785860"/>
              <a:gd name="connsiteY5" fmla="*/ 0 h 281940"/>
              <a:gd name="connsiteX6" fmla="*/ 525780 w 8785860"/>
              <a:gd name="connsiteY6" fmla="*/ 15240 h 281940"/>
              <a:gd name="connsiteX7" fmla="*/ 632460 w 8785860"/>
              <a:gd name="connsiteY7" fmla="*/ 15240 h 281940"/>
              <a:gd name="connsiteX8" fmla="*/ 685800 w 8785860"/>
              <a:gd name="connsiteY8" fmla="*/ 30480 h 281940"/>
              <a:gd name="connsiteX9" fmla="*/ 731520 w 8785860"/>
              <a:gd name="connsiteY9" fmla="*/ 30480 h 281940"/>
              <a:gd name="connsiteX10" fmla="*/ 853440 w 8785860"/>
              <a:gd name="connsiteY10" fmla="*/ 53340 h 281940"/>
              <a:gd name="connsiteX11" fmla="*/ 998220 w 8785860"/>
              <a:gd name="connsiteY11" fmla="*/ 45720 h 281940"/>
              <a:gd name="connsiteX12" fmla="*/ 1112520 w 8785860"/>
              <a:gd name="connsiteY12" fmla="*/ 45720 h 281940"/>
              <a:gd name="connsiteX13" fmla="*/ 1325880 w 8785860"/>
              <a:gd name="connsiteY13" fmla="*/ 76200 h 281940"/>
              <a:gd name="connsiteX14" fmla="*/ 1394460 w 8785860"/>
              <a:gd name="connsiteY14" fmla="*/ 60960 h 281940"/>
              <a:gd name="connsiteX15" fmla="*/ 1531620 w 8785860"/>
              <a:gd name="connsiteY15" fmla="*/ 60960 h 281940"/>
              <a:gd name="connsiteX16" fmla="*/ 1668780 w 8785860"/>
              <a:gd name="connsiteY16" fmla="*/ 60960 h 281940"/>
              <a:gd name="connsiteX17" fmla="*/ 1805940 w 8785860"/>
              <a:gd name="connsiteY17" fmla="*/ 53340 h 281940"/>
              <a:gd name="connsiteX18" fmla="*/ 1943100 w 8785860"/>
              <a:gd name="connsiteY18" fmla="*/ 45720 h 281940"/>
              <a:gd name="connsiteX19" fmla="*/ 2057400 w 8785860"/>
              <a:gd name="connsiteY19" fmla="*/ 45720 h 281940"/>
              <a:gd name="connsiteX20" fmla="*/ 2171700 w 8785860"/>
              <a:gd name="connsiteY20" fmla="*/ 45720 h 281940"/>
              <a:gd name="connsiteX21" fmla="*/ 2263140 w 8785860"/>
              <a:gd name="connsiteY21" fmla="*/ 45720 h 281940"/>
              <a:gd name="connsiteX22" fmla="*/ 2385060 w 8785860"/>
              <a:gd name="connsiteY22" fmla="*/ 45720 h 281940"/>
              <a:gd name="connsiteX23" fmla="*/ 2468880 w 8785860"/>
              <a:gd name="connsiteY23" fmla="*/ 45720 h 281940"/>
              <a:gd name="connsiteX24" fmla="*/ 2575560 w 8785860"/>
              <a:gd name="connsiteY24" fmla="*/ 45720 h 281940"/>
              <a:gd name="connsiteX25" fmla="*/ 2651760 w 8785860"/>
              <a:gd name="connsiteY25" fmla="*/ 30480 h 281940"/>
              <a:gd name="connsiteX26" fmla="*/ 2750820 w 8785860"/>
              <a:gd name="connsiteY26" fmla="*/ 53340 h 281940"/>
              <a:gd name="connsiteX27" fmla="*/ 2842260 w 8785860"/>
              <a:gd name="connsiteY27" fmla="*/ 53340 h 281940"/>
              <a:gd name="connsiteX28" fmla="*/ 2918460 w 8785860"/>
              <a:gd name="connsiteY28" fmla="*/ 53340 h 281940"/>
              <a:gd name="connsiteX29" fmla="*/ 3025140 w 8785860"/>
              <a:gd name="connsiteY29" fmla="*/ 60960 h 281940"/>
              <a:gd name="connsiteX30" fmla="*/ 3108960 w 8785860"/>
              <a:gd name="connsiteY30" fmla="*/ 45720 h 281940"/>
              <a:gd name="connsiteX31" fmla="*/ 3177540 w 8785860"/>
              <a:gd name="connsiteY31" fmla="*/ 45720 h 281940"/>
              <a:gd name="connsiteX32" fmla="*/ 3268980 w 8785860"/>
              <a:gd name="connsiteY32" fmla="*/ 45720 h 281940"/>
              <a:gd name="connsiteX33" fmla="*/ 3451860 w 8785860"/>
              <a:gd name="connsiteY33" fmla="*/ 60960 h 281940"/>
              <a:gd name="connsiteX34" fmla="*/ 3581400 w 8785860"/>
              <a:gd name="connsiteY34" fmla="*/ 76200 h 281940"/>
              <a:gd name="connsiteX35" fmla="*/ 3680460 w 8785860"/>
              <a:gd name="connsiteY35" fmla="*/ 60960 h 281940"/>
              <a:gd name="connsiteX36" fmla="*/ 3756660 w 8785860"/>
              <a:gd name="connsiteY36" fmla="*/ 60960 h 281940"/>
              <a:gd name="connsiteX37" fmla="*/ 3886200 w 8785860"/>
              <a:gd name="connsiteY37" fmla="*/ 83820 h 281940"/>
              <a:gd name="connsiteX38" fmla="*/ 4015740 w 8785860"/>
              <a:gd name="connsiteY38" fmla="*/ 121920 h 281940"/>
              <a:gd name="connsiteX39" fmla="*/ 4076700 w 8785860"/>
              <a:gd name="connsiteY39" fmla="*/ 99060 h 281940"/>
              <a:gd name="connsiteX40" fmla="*/ 4076700 w 8785860"/>
              <a:gd name="connsiteY40" fmla="*/ 99060 h 281940"/>
              <a:gd name="connsiteX41" fmla="*/ 4213860 w 8785860"/>
              <a:gd name="connsiteY41" fmla="*/ 114300 h 281940"/>
              <a:gd name="connsiteX42" fmla="*/ 4297680 w 8785860"/>
              <a:gd name="connsiteY42" fmla="*/ 114300 h 281940"/>
              <a:gd name="connsiteX43" fmla="*/ 4366260 w 8785860"/>
              <a:gd name="connsiteY43" fmla="*/ 114300 h 281940"/>
              <a:gd name="connsiteX44" fmla="*/ 4518660 w 8785860"/>
              <a:gd name="connsiteY44" fmla="*/ 144780 h 281940"/>
              <a:gd name="connsiteX45" fmla="*/ 4556760 w 8785860"/>
              <a:gd name="connsiteY45" fmla="*/ 137160 h 281940"/>
              <a:gd name="connsiteX46" fmla="*/ 4655820 w 8785860"/>
              <a:gd name="connsiteY46" fmla="*/ 137160 h 281940"/>
              <a:gd name="connsiteX47" fmla="*/ 4808220 w 8785860"/>
              <a:gd name="connsiteY47" fmla="*/ 137160 h 281940"/>
              <a:gd name="connsiteX48" fmla="*/ 4922520 w 8785860"/>
              <a:gd name="connsiteY48" fmla="*/ 137160 h 281940"/>
              <a:gd name="connsiteX49" fmla="*/ 5143500 w 8785860"/>
              <a:gd name="connsiteY49" fmla="*/ 152400 h 281940"/>
              <a:gd name="connsiteX50" fmla="*/ 5318760 w 8785860"/>
              <a:gd name="connsiteY50" fmla="*/ 160020 h 281940"/>
              <a:gd name="connsiteX51" fmla="*/ 5433060 w 8785860"/>
              <a:gd name="connsiteY51" fmla="*/ 160020 h 281940"/>
              <a:gd name="connsiteX52" fmla="*/ 5654040 w 8785860"/>
              <a:gd name="connsiteY52" fmla="*/ 167640 h 281940"/>
              <a:gd name="connsiteX53" fmla="*/ 5775960 w 8785860"/>
              <a:gd name="connsiteY53" fmla="*/ 167640 h 281940"/>
              <a:gd name="connsiteX54" fmla="*/ 6004560 w 8785860"/>
              <a:gd name="connsiteY54" fmla="*/ 182880 h 281940"/>
              <a:gd name="connsiteX55" fmla="*/ 6324600 w 8785860"/>
              <a:gd name="connsiteY55" fmla="*/ 190500 h 281940"/>
              <a:gd name="connsiteX56" fmla="*/ 6515100 w 8785860"/>
              <a:gd name="connsiteY56" fmla="*/ 190500 h 281940"/>
              <a:gd name="connsiteX57" fmla="*/ 6789420 w 8785860"/>
              <a:gd name="connsiteY57" fmla="*/ 182880 h 281940"/>
              <a:gd name="connsiteX58" fmla="*/ 6949440 w 8785860"/>
              <a:gd name="connsiteY58" fmla="*/ 182880 h 281940"/>
              <a:gd name="connsiteX59" fmla="*/ 7193280 w 8785860"/>
              <a:gd name="connsiteY59" fmla="*/ 167640 h 281940"/>
              <a:gd name="connsiteX60" fmla="*/ 7437120 w 8785860"/>
              <a:gd name="connsiteY60" fmla="*/ 175260 h 281940"/>
              <a:gd name="connsiteX61" fmla="*/ 7810500 w 8785860"/>
              <a:gd name="connsiteY61" fmla="*/ 175260 h 281940"/>
              <a:gd name="connsiteX62" fmla="*/ 8168640 w 8785860"/>
              <a:gd name="connsiteY62" fmla="*/ 175260 h 281940"/>
              <a:gd name="connsiteX63" fmla="*/ 8404860 w 8785860"/>
              <a:gd name="connsiteY63" fmla="*/ 167640 h 281940"/>
              <a:gd name="connsiteX64" fmla="*/ 8511540 w 8785860"/>
              <a:gd name="connsiteY64" fmla="*/ 198120 h 281940"/>
              <a:gd name="connsiteX65" fmla="*/ 8564880 w 8785860"/>
              <a:gd name="connsiteY65" fmla="*/ 281940 h 281940"/>
              <a:gd name="connsiteX66" fmla="*/ 8633460 w 8785860"/>
              <a:gd name="connsiteY66" fmla="*/ 259080 h 281940"/>
              <a:gd name="connsiteX67" fmla="*/ 8709660 w 8785860"/>
              <a:gd name="connsiteY67" fmla="*/ 243840 h 281940"/>
              <a:gd name="connsiteX68" fmla="*/ 8770620 w 8785860"/>
              <a:gd name="connsiteY68" fmla="*/ 243840 h 281940"/>
              <a:gd name="connsiteX69" fmla="*/ 8785860 w 8785860"/>
              <a:gd name="connsiteY69" fmla="*/ 228600 h 2819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</a:cxnLst>
            <a:rect l="l" t="t" r="r" b="b"/>
            <a:pathLst>
              <a:path w="8785860" h="281940">
                <a:moveTo>
                  <a:pt x="0" y="0"/>
                </a:moveTo>
                <a:lnTo>
                  <a:pt x="167640" y="22860"/>
                </a:lnTo>
                <a:lnTo>
                  <a:pt x="243840" y="22860"/>
                </a:lnTo>
                <a:lnTo>
                  <a:pt x="350520" y="30480"/>
                </a:lnTo>
                <a:lnTo>
                  <a:pt x="441960" y="30480"/>
                </a:lnTo>
                <a:lnTo>
                  <a:pt x="487680" y="0"/>
                </a:lnTo>
                <a:lnTo>
                  <a:pt x="525780" y="15240"/>
                </a:lnTo>
                <a:lnTo>
                  <a:pt x="632460" y="15240"/>
                </a:lnTo>
                <a:lnTo>
                  <a:pt x="685800" y="30480"/>
                </a:lnTo>
                <a:lnTo>
                  <a:pt x="731520" y="30480"/>
                </a:lnTo>
                <a:lnTo>
                  <a:pt x="853440" y="53340"/>
                </a:lnTo>
                <a:lnTo>
                  <a:pt x="998220" y="45720"/>
                </a:lnTo>
                <a:lnTo>
                  <a:pt x="1112520" y="45720"/>
                </a:lnTo>
                <a:lnTo>
                  <a:pt x="1325880" y="76200"/>
                </a:lnTo>
                <a:lnTo>
                  <a:pt x="1394460" y="60960"/>
                </a:lnTo>
                <a:lnTo>
                  <a:pt x="1531620" y="60960"/>
                </a:lnTo>
                <a:lnTo>
                  <a:pt x="1668780" y="60960"/>
                </a:lnTo>
                <a:lnTo>
                  <a:pt x="1805940" y="53340"/>
                </a:lnTo>
                <a:lnTo>
                  <a:pt x="1943100" y="45720"/>
                </a:lnTo>
                <a:lnTo>
                  <a:pt x="2057400" y="45720"/>
                </a:lnTo>
                <a:lnTo>
                  <a:pt x="2171700" y="45720"/>
                </a:lnTo>
                <a:lnTo>
                  <a:pt x="2263140" y="45720"/>
                </a:lnTo>
                <a:lnTo>
                  <a:pt x="2385060" y="45720"/>
                </a:lnTo>
                <a:lnTo>
                  <a:pt x="2468880" y="45720"/>
                </a:lnTo>
                <a:lnTo>
                  <a:pt x="2575560" y="45720"/>
                </a:lnTo>
                <a:lnTo>
                  <a:pt x="2651760" y="30480"/>
                </a:lnTo>
                <a:lnTo>
                  <a:pt x="2750820" y="53340"/>
                </a:lnTo>
                <a:lnTo>
                  <a:pt x="2842260" y="53340"/>
                </a:lnTo>
                <a:lnTo>
                  <a:pt x="2918460" y="53340"/>
                </a:lnTo>
                <a:lnTo>
                  <a:pt x="3025140" y="60960"/>
                </a:lnTo>
                <a:lnTo>
                  <a:pt x="3108960" y="45720"/>
                </a:lnTo>
                <a:lnTo>
                  <a:pt x="3177540" y="45720"/>
                </a:lnTo>
                <a:lnTo>
                  <a:pt x="3268980" y="45720"/>
                </a:lnTo>
                <a:lnTo>
                  <a:pt x="3451860" y="60960"/>
                </a:lnTo>
                <a:lnTo>
                  <a:pt x="3581400" y="76200"/>
                </a:lnTo>
                <a:lnTo>
                  <a:pt x="3680460" y="60960"/>
                </a:lnTo>
                <a:lnTo>
                  <a:pt x="3756660" y="60960"/>
                </a:lnTo>
                <a:lnTo>
                  <a:pt x="3886200" y="83820"/>
                </a:lnTo>
                <a:lnTo>
                  <a:pt x="4015740" y="121920"/>
                </a:lnTo>
                <a:lnTo>
                  <a:pt x="4076700" y="99060"/>
                </a:lnTo>
                <a:lnTo>
                  <a:pt x="4076700" y="99060"/>
                </a:lnTo>
                <a:lnTo>
                  <a:pt x="4213860" y="114300"/>
                </a:lnTo>
                <a:lnTo>
                  <a:pt x="4297680" y="114300"/>
                </a:lnTo>
                <a:lnTo>
                  <a:pt x="4366260" y="114300"/>
                </a:lnTo>
                <a:lnTo>
                  <a:pt x="4518660" y="144780"/>
                </a:lnTo>
                <a:lnTo>
                  <a:pt x="4556760" y="137160"/>
                </a:lnTo>
                <a:lnTo>
                  <a:pt x="4655820" y="137160"/>
                </a:lnTo>
                <a:lnTo>
                  <a:pt x="4808220" y="137160"/>
                </a:lnTo>
                <a:lnTo>
                  <a:pt x="4922520" y="137160"/>
                </a:lnTo>
                <a:lnTo>
                  <a:pt x="5143500" y="152400"/>
                </a:lnTo>
                <a:lnTo>
                  <a:pt x="5318760" y="160020"/>
                </a:lnTo>
                <a:lnTo>
                  <a:pt x="5433060" y="160020"/>
                </a:lnTo>
                <a:lnTo>
                  <a:pt x="5654040" y="167640"/>
                </a:lnTo>
                <a:lnTo>
                  <a:pt x="5775960" y="167640"/>
                </a:lnTo>
                <a:lnTo>
                  <a:pt x="6004560" y="182880"/>
                </a:lnTo>
                <a:lnTo>
                  <a:pt x="6324600" y="190500"/>
                </a:lnTo>
                <a:lnTo>
                  <a:pt x="6515100" y="190500"/>
                </a:lnTo>
                <a:lnTo>
                  <a:pt x="6789420" y="182880"/>
                </a:lnTo>
                <a:lnTo>
                  <a:pt x="6949440" y="182880"/>
                </a:lnTo>
                <a:lnTo>
                  <a:pt x="7193280" y="167640"/>
                </a:lnTo>
                <a:lnTo>
                  <a:pt x="7437120" y="175260"/>
                </a:lnTo>
                <a:lnTo>
                  <a:pt x="7810500" y="175260"/>
                </a:lnTo>
                <a:lnTo>
                  <a:pt x="8168640" y="175260"/>
                </a:lnTo>
                <a:lnTo>
                  <a:pt x="8404860" y="167640"/>
                </a:lnTo>
                <a:lnTo>
                  <a:pt x="8511540" y="198120"/>
                </a:lnTo>
                <a:lnTo>
                  <a:pt x="8564880" y="281940"/>
                </a:lnTo>
                <a:lnTo>
                  <a:pt x="8633460" y="259080"/>
                </a:lnTo>
                <a:lnTo>
                  <a:pt x="8709660" y="243840"/>
                </a:lnTo>
                <a:lnTo>
                  <a:pt x="8770620" y="243840"/>
                </a:lnTo>
                <a:lnTo>
                  <a:pt x="8785860" y="228600"/>
                </a:lnTo>
              </a:path>
            </a:pathLst>
          </a:cu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AF59EC7-7F75-4425-84B9-5F81AA26EB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IN" dirty="0"/>
              <a:t>Dream world: where would you go to college?</a:t>
            </a:r>
          </a:p>
        </p:txBody>
      </p:sp>
      <p:sp>
        <p:nvSpPr>
          <p:cNvPr id="4" name="Google Shape;14;p11">
            <a:extLst>
              <a:ext uri="{FF2B5EF4-FFF2-40B4-BE49-F238E27FC236}">
                <a16:creationId xmlns:a16="http://schemas.microsoft.com/office/drawing/2014/main" id="{523CACD1-B6E9-484D-A93B-291133AC6C74}"/>
              </a:ext>
            </a:extLst>
          </p:cNvPr>
          <p:cNvSpPr txBox="1">
            <a:spLocks noGrp="1"/>
          </p:cNvSpPr>
          <p:nvPr>
            <p:ph type="dt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r>
              <a:rPr lang="en-US" dirty="0"/>
              <a:t>25/2/2021</a:t>
            </a:r>
            <a:endParaRPr dirty="0"/>
          </a:p>
        </p:txBody>
      </p:sp>
      <p:sp>
        <p:nvSpPr>
          <p:cNvPr id="5" name="Google Shape;16;p11">
            <a:extLst>
              <a:ext uri="{FF2B5EF4-FFF2-40B4-BE49-F238E27FC236}">
                <a16:creationId xmlns:a16="http://schemas.microsoft.com/office/drawing/2014/main" id="{9784C0D3-4933-4B52-8B1E-2435F19A276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0" marR="0" lvl="1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0" marR="0" lvl="2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0" marR="0" lvl="3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0" marR="0" lvl="4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0" marR="0" lvl="5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0" marR="0" lvl="6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0" marR="0" lvl="7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0" marR="0" lvl="8" indent="0" algn="r" rtl="0">
              <a:spcBef>
                <a:spcPts val="0"/>
              </a:spcBef>
              <a:buNone/>
              <a:defRPr sz="1050" b="0" i="0" u="none" strike="noStrike" cap="none">
                <a:solidFill>
                  <a:srgbClr val="FFFFF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9</a:t>
            </a:fld>
            <a:endParaRPr dirty="0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A28E0E7-1095-4348-9191-39D9F6BA3313}"/>
              </a:ext>
            </a:extLst>
          </p:cNvPr>
          <p:cNvSpPr txBox="1">
            <a:spLocks/>
          </p:cNvSpPr>
          <p:nvPr/>
        </p:nvSpPr>
        <p:spPr>
          <a:xfrm>
            <a:off x="1097280" y="1833209"/>
            <a:ext cx="10058400" cy="338554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txBody>
          <a:bodyPr spcFirstLastPara="1" wrap="square" lIns="91440" tIns="45720" rIns="91440" bIns="4572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600" b="1" dirty="0">
                <a:solidFill>
                  <a:schemeClr val="bg1"/>
                </a:solidFill>
              </a:rPr>
              <a:t>Civilian labor force participation rate, seasonally adjusted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14B3064C-200B-4C54-9E29-753DCD234E7A}"/>
              </a:ext>
            </a:extLst>
          </p:cNvPr>
          <p:cNvSpPr txBox="1">
            <a:spLocks/>
          </p:cNvSpPr>
          <p:nvPr/>
        </p:nvSpPr>
        <p:spPr>
          <a:xfrm>
            <a:off x="1092199" y="5591983"/>
            <a:ext cx="10120283" cy="615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000" dirty="0"/>
              <a:t>Hover over chart to view data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000" dirty="0"/>
              <a:t>Note: Shaded area represents recession, as determined by the National Bureau of Economic Research. Persons whose ethnicity is identified as Hispanic or Latino may be of any race</a:t>
            </a:r>
            <a:br>
              <a:rPr lang="en-IN" sz="1000" dirty="0"/>
            </a:br>
            <a:r>
              <a:rPr lang="en-IN" sz="1000" dirty="0"/>
              <a:t>Source: U.S. Bureau of Labor Statistics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56A64F1E-0F8C-4D15-BF64-1E81211EE25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7536643"/>
              </p:ext>
            </p:extLst>
          </p:nvPr>
        </p:nvGraphicFramePr>
        <p:xfrm>
          <a:off x="1097280" y="2105025"/>
          <a:ext cx="10058400" cy="3043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D7F0225-DD5C-44B6-926D-756305D15DE0}"/>
              </a:ext>
            </a:extLst>
          </p:cNvPr>
          <p:cNvSpPr txBox="1">
            <a:spLocks/>
          </p:cNvSpPr>
          <p:nvPr/>
        </p:nvSpPr>
        <p:spPr>
          <a:xfrm>
            <a:off x="2407082" y="5205370"/>
            <a:ext cx="37350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200" dirty="0"/>
              <a:t>Total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DA1920F-3A8A-4F77-BBBD-8D7B4A87D1FC}"/>
              </a:ext>
            </a:extLst>
          </p:cNvPr>
          <p:cNvCxnSpPr>
            <a:cxnSpLocks/>
          </p:cNvCxnSpPr>
          <p:nvPr/>
        </p:nvCxnSpPr>
        <p:spPr>
          <a:xfrm>
            <a:off x="2033702" y="5297703"/>
            <a:ext cx="31242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4A84F235-7C8F-43F0-881F-5CBF067F496B}"/>
              </a:ext>
            </a:extLst>
          </p:cNvPr>
          <p:cNvSpPr txBox="1">
            <a:spLocks/>
          </p:cNvSpPr>
          <p:nvPr/>
        </p:nvSpPr>
        <p:spPr>
          <a:xfrm>
            <a:off x="3344342" y="5205370"/>
            <a:ext cx="1718419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200" dirty="0"/>
              <a:t>Men, 20 years and older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167EBB8-8754-4E79-B2C2-3EEF8B01D8FD}"/>
              </a:ext>
            </a:extLst>
          </p:cNvPr>
          <p:cNvCxnSpPr>
            <a:cxnSpLocks/>
          </p:cNvCxnSpPr>
          <p:nvPr/>
        </p:nvCxnSpPr>
        <p:spPr>
          <a:xfrm>
            <a:off x="2970962" y="5297703"/>
            <a:ext cx="31242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5611CF5-0C96-4BE3-9E8C-BE9148D04167}"/>
              </a:ext>
            </a:extLst>
          </p:cNvPr>
          <p:cNvSpPr txBox="1">
            <a:spLocks/>
          </p:cNvSpPr>
          <p:nvPr/>
        </p:nvSpPr>
        <p:spPr>
          <a:xfrm>
            <a:off x="5569382" y="5205370"/>
            <a:ext cx="1971694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200" dirty="0"/>
              <a:t>Women, 20 years and older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D824D866-8191-4192-8DA4-93EAF14DBA6B}"/>
              </a:ext>
            </a:extLst>
          </p:cNvPr>
          <p:cNvCxnSpPr>
            <a:cxnSpLocks/>
          </p:cNvCxnSpPr>
          <p:nvPr/>
        </p:nvCxnSpPr>
        <p:spPr>
          <a:xfrm>
            <a:off x="5196002" y="5297703"/>
            <a:ext cx="31242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DCE38B6-9A8F-4577-95F5-082A69096739}"/>
              </a:ext>
            </a:extLst>
          </p:cNvPr>
          <p:cNvSpPr txBox="1">
            <a:spLocks/>
          </p:cNvSpPr>
          <p:nvPr/>
        </p:nvSpPr>
        <p:spPr>
          <a:xfrm>
            <a:off x="8015402" y="5205370"/>
            <a:ext cx="1250342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200" dirty="0"/>
              <a:t>16 to 19 years old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58F3E5B-E421-4C83-AC46-1A0EBC96ACE2}"/>
              </a:ext>
            </a:extLst>
          </p:cNvPr>
          <p:cNvCxnSpPr>
            <a:cxnSpLocks/>
          </p:cNvCxnSpPr>
          <p:nvPr/>
        </p:nvCxnSpPr>
        <p:spPr>
          <a:xfrm>
            <a:off x="7642022" y="5297703"/>
            <a:ext cx="312420" cy="0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93114CEC-E9B0-400D-8989-34AB9EA5FCB1}"/>
              </a:ext>
            </a:extLst>
          </p:cNvPr>
          <p:cNvSpPr txBox="1">
            <a:spLocks/>
          </p:cNvSpPr>
          <p:nvPr/>
        </p:nvSpPr>
        <p:spPr>
          <a:xfrm>
            <a:off x="9722282" y="5205370"/>
            <a:ext cx="436017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200" dirty="0"/>
              <a:t>White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EAD7D8A-DD34-4263-90D8-C5EC7243F20E}"/>
              </a:ext>
            </a:extLst>
          </p:cNvPr>
          <p:cNvCxnSpPr>
            <a:cxnSpLocks/>
          </p:cNvCxnSpPr>
          <p:nvPr/>
        </p:nvCxnSpPr>
        <p:spPr>
          <a:xfrm>
            <a:off x="9348902" y="5297703"/>
            <a:ext cx="312420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DE75304-2EA3-4F4F-B11F-9163BBA8E972}"/>
              </a:ext>
            </a:extLst>
          </p:cNvPr>
          <p:cNvSpPr txBox="1">
            <a:spLocks/>
          </p:cNvSpPr>
          <p:nvPr/>
        </p:nvSpPr>
        <p:spPr>
          <a:xfrm>
            <a:off x="2407082" y="5390036"/>
            <a:ext cx="1872307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200" dirty="0"/>
              <a:t>Black or African American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8A29D62C-2E76-4709-8150-C11FB5A94CCD}"/>
              </a:ext>
            </a:extLst>
          </p:cNvPr>
          <p:cNvCxnSpPr>
            <a:cxnSpLocks/>
          </p:cNvCxnSpPr>
          <p:nvPr/>
        </p:nvCxnSpPr>
        <p:spPr>
          <a:xfrm>
            <a:off x="2033702" y="5482369"/>
            <a:ext cx="312420" cy="0"/>
          </a:xfrm>
          <a:prstGeom prst="line">
            <a:avLst/>
          </a:prstGeom>
          <a:ln w="28575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0787BC58-AF36-4080-9E34-8DCC063B208C}"/>
              </a:ext>
            </a:extLst>
          </p:cNvPr>
          <p:cNvSpPr txBox="1">
            <a:spLocks/>
          </p:cNvSpPr>
          <p:nvPr/>
        </p:nvSpPr>
        <p:spPr>
          <a:xfrm>
            <a:off x="5569382" y="5399442"/>
            <a:ext cx="402354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200" dirty="0"/>
              <a:t>Asian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725C71F0-24D9-4A96-8503-3BC7E8B0C168}"/>
              </a:ext>
            </a:extLst>
          </p:cNvPr>
          <p:cNvCxnSpPr>
            <a:cxnSpLocks/>
          </p:cNvCxnSpPr>
          <p:nvPr/>
        </p:nvCxnSpPr>
        <p:spPr>
          <a:xfrm>
            <a:off x="5196002" y="5491775"/>
            <a:ext cx="312420" cy="0"/>
          </a:xfrm>
          <a:prstGeom prst="line">
            <a:avLst/>
          </a:prstGeom>
          <a:ln w="28575"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FC8B2A6-2C3C-4BA4-9867-FF579034CB76}"/>
              </a:ext>
            </a:extLst>
          </p:cNvPr>
          <p:cNvSpPr txBox="1">
            <a:spLocks/>
          </p:cNvSpPr>
          <p:nvPr/>
        </p:nvSpPr>
        <p:spPr>
          <a:xfrm>
            <a:off x="8015402" y="5399442"/>
            <a:ext cx="1292020" cy="184666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 "/>
              <a:defRPr sz="20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8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buClr>
                <a:schemeClr val="accent1"/>
              </a:buClr>
              <a:buSzPts val="1800"/>
              <a:buFont typeface="Calibri"/>
              <a:buChar char="◦"/>
              <a:defRPr sz="1400" b="0" i="0" u="none" strike="noStrike" cap="none">
                <a:solidFill>
                  <a:srgbClr val="3F3F3F"/>
                </a:solidFill>
                <a:latin typeface="Libre Franklin"/>
                <a:ea typeface="Libre Franklin"/>
                <a:cs typeface="Libre Franklin"/>
                <a:sym typeface="Libre Franklin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IN" sz="1200" dirty="0"/>
              <a:t>Hispanic or Latino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C271EF29-CD53-4783-ABF4-10220BD8D093}"/>
              </a:ext>
            </a:extLst>
          </p:cNvPr>
          <p:cNvCxnSpPr>
            <a:cxnSpLocks/>
          </p:cNvCxnSpPr>
          <p:nvPr/>
        </p:nvCxnSpPr>
        <p:spPr>
          <a:xfrm>
            <a:off x="7642022" y="5491775"/>
            <a:ext cx="312420" cy="0"/>
          </a:xfrm>
          <a:prstGeom prst="line">
            <a:avLst/>
          </a:prstGeom>
          <a:ln w="28575"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29243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imYLgNQhWTOsKT20Ou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imYLgNQhWTOsKT20OuZ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imYLgNQhWTOsKT20OuZ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imYLgNQhWTOsKT20OuZ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imYLgNQhWTOsKT20OuZ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imYLgNQhWTOsKT20OuZ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imYLgNQhWTOsKT20OuZ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imYLgNQhWTOsKT20OuZ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imYLgNQhWTOsKT20OuZ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imYLgNQhWTOsKT20OuZ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HEjt5pTomBCcnXQXfYQ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imYLgNQhWTOsKT20OuZ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imYLgNQhWTOsKT20OuZ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p_CusVQZW6rPxM.y6V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imYLgNQhWTOsKT20OuZ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imYLgNQhWTOsKT20OuZ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imYLgNQhWTOsKT20OuZw"/>
</p:tagLst>
</file>

<file path=ppt/theme/theme1.xml><?xml version="1.0" encoding="utf-8"?>
<a:theme xmlns:a="http://schemas.openxmlformats.org/drawingml/2006/main" name="Retrospect">
  <a:themeElements>
    <a:clrScheme name="Green Yellow">
      <a:dk1>
        <a:srgbClr val="000000"/>
      </a:dk1>
      <a:lt1>
        <a:srgbClr val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75</TotalTime>
  <Words>1293</Words>
  <Application>Microsoft Office PowerPoint</Application>
  <PresentationFormat>Widescreen</PresentationFormat>
  <Paragraphs>237</Paragraphs>
  <Slides>17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rial</vt:lpstr>
      <vt:lpstr>Lato</vt:lpstr>
      <vt:lpstr>Calibri</vt:lpstr>
      <vt:lpstr>Libre Franklin</vt:lpstr>
      <vt:lpstr>Verdana</vt:lpstr>
      <vt:lpstr>Libre Franklin Thin</vt:lpstr>
      <vt:lpstr>Retrospect</vt:lpstr>
      <vt:lpstr>think-cell Slide</vt:lpstr>
      <vt:lpstr>Exploring post high school education (in a way that meets math standards)</vt:lpstr>
      <vt:lpstr>The real life game of LIFE</vt:lpstr>
      <vt:lpstr>Committed to serving all students</vt:lpstr>
      <vt:lpstr>College!</vt:lpstr>
      <vt:lpstr>College as an investment in  human capital</vt:lpstr>
      <vt:lpstr>What conclusions can you draw from this chart?</vt:lpstr>
      <vt:lpstr>What conclusions can you draw from this chart?</vt:lpstr>
      <vt:lpstr>What conclusions can you draw from this chart? </vt:lpstr>
      <vt:lpstr>Dream world: where would you go to college?</vt:lpstr>
      <vt:lpstr>Breakout: How much does college cost? </vt:lpstr>
      <vt:lpstr>How would you fund college?</vt:lpstr>
      <vt:lpstr>You’ll want to think about the relationship between degree and income</vt:lpstr>
      <vt:lpstr>Breakout</vt:lpstr>
      <vt:lpstr>Breakout</vt:lpstr>
      <vt:lpstr>Good resources</vt:lpstr>
      <vt:lpstr>Any questions?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erese Otto</dc:creator>
  <cp:lastModifiedBy>Pamela Whalley</cp:lastModifiedBy>
  <cp:revision>36</cp:revision>
  <dcterms:created xsi:type="dcterms:W3CDTF">2019-10-30T21:03:18Z</dcterms:created>
  <dcterms:modified xsi:type="dcterms:W3CDTF">2021-02-25T18:32:46Z</dcterms:modified>
</cp:coreProperties>
</file>